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diagrams/data1.xml" ContentType="application/vnd.openxmlformats-officedocument.drawingml.diagramData+xml"/>
  <Override PartName="/ppt/diagrams/data2.xml" ContentType="application/vnd.openxmlformats-officedocument.drawingml.diagramData+xml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3.xml" ContentType="application/vnd.openxmlformats-officedocument.presentationml.slide+xml"/>
  <Override PartName="/ppt/slides/slide2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Slides/notesSlide3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1.xml" ContentType="application/vnd.openxmlformats-officedocument.presentationml.notesSlide+xml"/>
  <Override PartName="/ppt/notesSlides/notesSlide6.xml" ContentType="application/vnd.openxmlformats-officedocument.presentationml.notesSlide+xml"/>
  <Override PartName="/ppt/slideLayouts/slideLayout5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Masters/slideMaster1.xml" ContentType="application/vnd.openxmlformats-officedocument.presentationml.slideMaster+xml"/>
  <Override PartName="/ppt/diagrams/colors2.xml" ContentType="application/vnd.openxmlformats-officedocument.drawingml.diagramColors+xml"/>
  <Override PartName="/ppt/notesMasters/notesMaster1.xml" ContentType="application/vnd.openxmlformats-officedocument.presentationml.notesMaster+xml"/>
  <Override PartName="/ppt/diagrams/drawing2.xml" ContentType="application/vnd.ms-office.drawingml.diagramDrawing+xml"/>
  <Override PartName="/ppt/diagrams/quickStyle2.xml" ContentType="application/vnd.openxmlformats-officedocument.drawingml.diagramStyle+xml"/>
  <Override PartName="/ppt/handoutMasters/handoutMaster1.xml" ContentType="application/vnd.openxmlformats-officedocument.presentationml.handoutMaster+xml"/>
  <Override PartName="/ppt/diagrams/layout2.xml" ContentType="application/vnd.openxmlformats-officedocument.drawingml.diagramLayout+xml"/>
  <Override PartName="/ppt/theme/theme2.xml" ContentType="application/vnd.openxmlformats-officedocument.theme+xml"/>
  <Override PartName="/ppt/theme/theme1.xml" ContentType="application/vnd.openxmlformats-officedocument.theme+xml"/>
  <Override PartName="/ppt/theme/theme3.xml" ContentType="application/vnd.openxmlformats-officedocument.theme+xml"/>
  <Override PartName="/ppt/diagrams/drawing1.xml" ContentType="application/vnd.ms-office.drawingml.diagramDrawing+xml"/>
  <Override PartName="/ppt/diagrams/quickStyle1.xml" ContentType="application/vnd.openxmlformats-officedocument.drawingml.diagramStyle+xml"/>
  <Override PartName="/ppt/diagrams/layout1.xml" ContentType="application/vnd.openxmlformats-officedocument.drawingml.diagramLayout+xml"/>
  <Override PartName="/ppt/diagrams/colors1.xml" ContentType="application/vnd.openxmlformats-officedocument.drawingml.diagramColors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bleStyles.xml" ContentType="application/vnd.openxmlformats-officedocument.presentationml.tableStyles+xml"/>
  <Override PartName="/ppt/tags/tag4.xml" ContentType="application/vnd.openxmlformats-officedocument.presentationml.tags+xml"/>
  <Override PartName="/ppt/tags/tag6.xml" ContentType="application/vnd.openxmlformats-officedocument.presentationml.tag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tags/tag5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customXml/itemProps3.xml" ContentType="application/vnd.openxmlformats-officedocument.customXml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4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72" r:id="rId1"/>
  </p:sldMasterIdLst>
  <p:notesMasterIdLst>
    <p:notesMasterId r:id="rId8"/>
  </p:notesMasterIdLst>
  <p:handoutMasterIdLst>
    <p:handoutMasterId r:id="rId9"/>
  </p:handoutMasterIdLst>
  <p:sldIdLst>
    <p:sldId id="355" r:id="rId2"/>
    <p:sldId id="352" r:id="rId3"/>
    <p:sldId id="351" r:id="rId4"/>
    <p:sldId id="356" r:id="rId5"/>
    <p:sldId id="353" r:id="rId6"/>
    <p:sldId id="354" r:id="rId7"/>
  </p:sldIdLst>
  <p:sldSz cx="12190413" cy="6858000"/>
  <p:notesSz cx="6805613" cy="9939338"/>
  <p:custDataLst>
    <p:tags r:id="rId10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Verdana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Verdana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Verdana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Verdana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Verdana" pitchFamily="34" charset="0"/>
        <a:ea typeface="+mn-ea"/>
        <a:cs typeface="+mn-cs"/>
      </a:defRPr>
    </a:lvl5pPr>
    <a:lvl6pPr marL="2286000" algn="l" defTabSz="914400" rtl="0" eaLnBrk="1" latinLnBrk="0" hangingPunct="1">
      <a:defRPr sz="1900" kern="1200">
        <a:solidFill>
          <a:schemeClr val="tx1"/>
        </a:solidFill>
        <a:latin typeface="Verdana" pitchFamily="34" charset="0"/>
        <a:ea typeface="+mn-ea"/>
        <a:cs typeface="+mn-cs"/>
      </a:defRPr>
    </a:lvl6pPr>
    <a:lvl7pPr marL="2743200" algn="l" defTabSz="914400" rtl="0" eaLnBrk="1" latinLnBrk="0" hangingPunct="1">
      <a:defRPr sz="1900" kern="1200">
        <a:solidFill>
          <a:schemeClr val="tx1"/>
        </a:solidFill>
        <a:latin typeface="Verdana" pitchFamily="34" charset="0"/>
        <a:ea typeface="+mn-ea"/>
        <a:cs typeface="+mn-cs"/>
      </a:defRPr>
    </a:lvl7pPr>
    <a:lvl8pPr marL="3200400" algn="l" defTabSz="914400" rtl="0" eaLnBrk="1" latinLnBrk="0" hangingPunct="1">
      <a:defRPr sz="1900" kern="1200">
        <a:solidFill>
          <a:schemeClr val="tx1"/>
        </a:solidFill>
        <a:latin typeface="Verdana" pitchFamily="34" charset="0"/>
        <a:ea typeface="+mn-ea"/>
        <a:cs typeface="+mn-cs"/>
      </a:defRPr>
    </a:lvl8pPr>
    <a:lvl9pPr marL="3657600" algn="l" defTabSz="914400" rtl="0" eaLnBrk="1" latinLnBrk="0" hangingPunct="1">
      <a:defRPr sz="1900" kern="1200">
        <a:solidFill>
          <a:schemeClr val="tx1"/>
        </a:solidFill>
        <a:latin typeface="Verdana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430" userDrawn="1">
          <p15:clr>
            <a:srgbClr val="A4A3A4"/>
          </p15:clr>
        </p15:guide>
        <p15:guide id="2" orient="horz" pos="436">
          <p15:clr>
            <a:srgbClr val="A4A3A4"/>
          </p15:clr>
        </p15:guide>
        <p15:guide id="3" orient="horz" pos="3856">
          <p15:clr>
            <a:srgbClr val="A4A3A4"/>
          </p15:clr>
        </p15:guide>
        <p15:guide id="4" orient="horz" pos="762">
          <p15:clr>
            <a:srgbClr val="A4A3A4"/>
          </p15:clr>
        </p15:guide>
        <p15:guide id="5" orient="horz" pos="4204">
          <p15:clr>
            <a:srgbClr val="A4A3A4"/>
          </p15:clr>
        </p15:guide>
        <p15:guide id="6" pos="3840">
          <p15:clr>
            <a:srgbClr val="A4A3A4"/>
          </p15:clr>
        </p15:guide>
        <p15:guide id="7" pos="363">
          <p15:clr>
            <a:srgbClr val="A4A3A4"/>
          </p15:clr>
        </p15:guide>
        <p15:guide id="8" pos="6833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66BAF"/>
    <a:srgbClr val="003366"/>
    <a:srgbClr val="FFFFFF"/>
    <a:srgbClr val="003C6A"/>
    <a:srgbClr val="000000"/>
    <a:srgbClr val="3D8C45"/>
    <a:srgbClr val="B2C444"/>
    <a:srgbClr val="50A08D"/>
    <a:srgbClr val="A25790"/>
    <a:srgbClr val="E267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emlayout 2 - Marker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llemlayout 2 - Markering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A107856-5554-42FB-B03E-39F5DBC370BA}" styleName="Mellemlayout 4 - Markering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2D5ABB26-0587-4C30-8999-92F81FD0307C}" styleName="Ingen typografi, intet git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DA37D80-6434-44D0-A028-1B22A696006F}" styleName="Lyst layout 3 - Markering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975" autoAdjust="0"/>
    <p:restoredTop sz="94660"/>
  </p:normalViewPr>
  <p:slideViewPr>
    <p:cSldViewPr showGuides="1">
      <p:cViewPr varScale="1">
        <p:scale>
          <a:sx n="78" d="100"/>
          <a:sy n="78" d="100"/>
        </p:scale>
        <p:origin x="82" y="254"/>
      </p:cViewPr>
      <p:guideLst>
        <p:guide orient="horz" pos="3430"/>
        <p:guide orient="horz" pos="436"/>
        <p:guide orient="horz" pos="3856"/>
        <p:guide orient="horz" pos="762"/>
        <p:guide orient="horz" pos="4204"/>
        <p:guide pos="3840"/>
        <p:guide pos="363"/>
        <p:guide pos="6833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18" Type="http://schemas.openxmlformats.org/officeDocument/2006/relationships/customXml" Target="../customXml/item4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17" Type="http://schemas.openxmlformats.org/officeDocument/2006/relationships/customXml" Target="../customXml/item3.xml"/><Relationship Id="rId2" Type="http://schemas.openxmlformats.org/officeDocument/2006/relationships/slide" Target="slides/slide1.xml"/><Relationship Id="rId16" Type="http://schemas.openxmlformats.org/officeDocument/2006/relationships/customXml" Target="../customXml/item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customXml" Target="../customXml/item1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001B9AF-CDE1-4421-8787-0B5ABA53FCC4}" type="doc">
      <dgm:prSet loTypeId="urn:microsoft.com/office/officeart/2005/8/layout/vList5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da-DK"/>
        </a:p>
      </dgm:t>
    </dgm:pt>
    <dgm:pt modelId="{CA6407DD-EFAD-4843-B596-3E0C046DFBEB}">
      <dgm:prSet phldrT="[Tekst]" custT="1"/>
      <dgm:spPr/>
      <dgm:t>
        <a:bodyPr/>
        <a:lstStyle/>
        <a:p>
          <a:r>
            <a:rPr lang="da-DK" sz="900" b="0" dirty="0"/>
            <a:t>Jeg benytter min telefon fra Danmark og ringer til et EU land</a:t>
          </a:r>
        </a:p>
      </dgm:t>
    </dgm:pt>
    <dgm:pt modelId="{70D10986-FC17-4915-9EAA-1D5AC45FBC11}" type="parTrans" cxnId="{FF33FD62-F11A-4117-8B4E-C41521F78119}">
      <dgm:prSet/>
      <dgm:spPr/>
      <dgm:t>
        <a:bodyPr/>
        <a:lstStyle/>
        <a:p>
          <a:endParaRPr lang="da-DK" sz="900"/>
        </a:p>
      </dgm:t>
    </dgm:pt>
    <dgm:pt modelId="{F117DDC3-CEC0-4ADF-9D06-F5FD2FFA8B29}" type="sibTrans" cxnId="{FF33FD62-F11A-4117-8B4E-C41521F78119}">
      <dgm:prSet/>
      <dgm:spPr/>
      <dgm:t>
        <a:bodyPr/>
        <a:lstStyle/>
        <a:p>
          <a:endParaRPr lang="da-DK" sz="900"/>
        </a:p>
      </dgm:t>
    </dgm:pt>
    <dgm:pt modelId="{622BEC60-5717-4F87-B8FF-4F38CDD2DA8E}">
      <dgm:prSet phldrT="[Tekst]" custT="1"/>
      <dgm:spPr/>
      <dgm:t>
        <a:bodyPr/>
        <a:lstStyle/>
        <a:p>
          <a:r>
            <a:rPr lang="da-DK" sz="900" b="0" dirty="0"/>
            <a:t>Opkald fra Danmark til EU er ikke inkluderet i dit SKI 50.48 </a:t>
          </a:r>
          <a:r>
            <a:rPr lang="da-DK" sz="900" b="0" dirty="0" err="1"/>
            <a:t>flatrate</a:t>
          </a:r>
          <a:r>
            <a:rPr lang="da-DK" sz="900" b="0" dirty="0"/>
            <a:t> abonnement, og priserne vil være som angivet i SKI 50.48 prislisten.</a:t>
          </a:r>
          <a:endParaRPr lang="da-DK" sz="900" b="1" dirty="0"/>
        </a:p>
      </dgm:t>
    </dgm:pt>
    <dgm:pt modelId="{BE74CB8C-CB73-4BB3-92CD-4E846D083CBF}" type="parTrans" cxnId="{0198F762-6934-4B42-9B0E-23A31BC7155F}">
      <dgm:prSet/>
      <dgm:spPr/>
      <dgm:t>
        <a:bodyPr/>
        <a:lstStyle/>
        <a:p>
          <a:endParaRPr lang="da-DK" sz="900"/>
        </a:p>
      </dgm:t>
    </dgm:pt>
    <dgm:pt modelId="{D308C0AE-4C1A-4DF9-B5F6-CDC7BFC41620}" type="sibTrans" cxnId="{0198F762-6934-4B42-9B0E-23A31BC7155F}">
      <dgm:prSet/>
      <dgm:spPr/>
      <dgm:t>
        <a:bodyPr/>
        <a:lstStyle/>
        <a:p>
          <a:endParaRPr lang="da-DK" sz="900"/>
        </a:p>
      </dgm:t>
    </dgm:pt>
    <dgm:pt modelId="{8AF62308-50A6-4D42-8815-1170848063C0}">
      <dgm:prSet phldrT="[Tekst]" custT="1"/>
      <dgm:spPr/>
      <dgm:t>
        <a:bodyPr/>
        <a:lstStyle/>
        <a:p>
          <a:r>
            <a:rPr lang="da-DK" sz="900" b="0" dirty="0"/>
            <a:t>Opkald fra Danmark til ikke EU lande ikke omfattet af dit SKI 50.48 </a:t>
          </a:r>
          <a:r>
            <a:rPr lang="da-DK" sz="900" b="0" dirty="0" err="1"/>
            <a:t>flatrate</a:t>
          </a:r>
          <a:r>
            <a:rPr lang="da-DK" sz="900" b="0" dirty="0"/>
            <a:t> abonnement  og priserne vil være som angivet i SKI 50.48 prislisten.</a:t>
          </a:r>
          <a:endParaRPr lang="da-DK" sz="900" b="1" dirty="0"/>
        </a:p>
      </dgm:t>
    </dgm:pt>
    <dgm:pt modelId="{A64ED254-0AFC-48CB-AA53-6096EA7A9D57}" type="parTrans" cxnId="{22B74F01-6ED7-4C63-A66C-984E85F64859}">
      <dgm:prSet/>
      <dgm:spPr/>
      <dgm:t>
        <a:bodyPr/>
        <a:lstStyle/>
        <a:p>
          <a:endParaRPr lang="da-DK" sz="900"/>
        </a:p>
      </dgm:t>
    </dgm:pt>
    <dgm:pt modelId="{DFF23AB8-B9E7-4313-A185-C9667002A6CB}" type="sibTrans" cxnId="{22B74F01-6ED7-4C63-A66C-984E85F64859}">
      <dgm:prSet/>
      <dgm:spPr/>
      <dgm:t>
        <a:bodyPr/>
        <a:lstStyle/>
        <a:p>
          <a:endParaRPr lang="da-DK" sz="900"/>
        </a:p>
      </dgm:t>
    </dgm:pt>
    <dgm:pt modelId="{3E236C0E-CA28-4164-8626-6AD71D2FAF2A}">
      <dgm:prSet phldrT="[Tekst]" custT="1"/>
      <dgm:spPr/>
      <dgm:t>
        <a:bodyPr/>
        <a:lstStyle/>
        <a:p>
          <a:r>
            <a:rPr lang="da-DK" sz="900" b="0" dirty="0"/>
            <a:t>Jeg benytter min telefon fra et EU land og ringer til Danmark</a:t>
          </a:r>
        </a:p>
      </dgm:t>
    </dgm:pt>
    <dgm:pt modelId="{8CB37897-3C1B-4114-8EE2-EE17D7E37C2E}" type="parTrans" cxnId="{D4F09C55-CBE0-4DB1-BD40-72D0E36052FF}">
      <dgm:prSet/>
      <dgm:spPr/>
      <dgm:t>
        <a:bodyPr/>
        <a:lstStyle/>
        <a:p>
          <a:endParaRPr lang="da-DK" sz="900"/>
        </a:p>
      </dgm:t>
    </dgm:pt>
    <dgm:pt modelId="{3F54593A-7309-4A52-91E9-63818B1C0BCE}" type="sibTrans" cxnId="{D4F09C55-CBE0-4DB1-BD40-72D0E36052FF}">
      <dgm:prSet/>
      <dgm:spPr/>
      <dgm:t>
        <a:bodyPr/>
        <a:lstStyle/>
        <a:p>
          <a:endParaRPr lang="da-DK" sz="900"/>
        </a:p>
      </dgm:t>
    </dgm:pt>
    <dgm:pt modelId="{928D3D85-7127-451D-9075-CE5D38A3EB82}">
      <dgm:prSet phldrT="[Tekst]" custT="1"/>
      <dgm:spPr/>
      <dgm:t>
        <a:bodyPr/>
        <a:lstStyle/>
        <a:p>
          <a:r>
            <a:rPr lang="da-DK" sz="900" b="0" dirty="0"/>
            <a:t>Jeg benytter min telefon fra et EU land og ringer til et andet EU land</a:t>
          </a:r>
        </a:p>
      </dgm:t>
    </dgm:pt>
    <dgm:pt modelId="{5F902668-D6F0-4000-BCBF-F8637BBF4D0F}" type="parTrans" cxnId="{A0B55D34-4F00-442F-B39C-E5B3FBDAB445}">
      <dgm:prSet/>
      <dgm:spPr/>
      <dgm:t>
        <a:bodyPr/>
        <a:lstStyle/>
        <a:p>
          <a:endParaRPr lang="da-DK" sz="900"/>
        </a:p>
      </dgm:t>
    </dgm:pt>
    <dgm:pt modelId="{4A75A6F6-6790-4FD1-B938-925F8F147FC0}" type="sibTrans" cxnId="{A0B55D34-4F00-442F-B39C-E5B3FBDAB445}">
      <dgm:prSet/>
      <dgm:spPr/>
      <dgm:t>
        <a:bodyPr/>
        <a:lstStyle/>
        <a:p>
          <a:endParaRPr lang="da-DK" sz="900"/>
        </a:p>
      </dgm:t>
    </dgm:pt>
    <dgm:pt modelId="{49957A5F-3CD3-4C73-A3D1-371A7903C3A6}">
      <dgm:prSet phldrT="[Tekst]" custT="1"/>
      <dgm:spPr/>
      <dgm:t>
        <a:bodyPr/>
        <a:lstStyle/>
        <a:p>
          <a:r>
            <a:rPr lang="da-DK" sz="900" b="0" dirty="0">
              <a:latin typeface="+mn-lt"/>
            </a:rPr>
            <a:t>Jeg benytter min telefon fra et EU land og ringer til et ikke EU </a:t>
          </a:r>
          <a:r>
            <a:rPr lang="da-DK" sz="900" b="0" dirty="0"/>
            <a:t>land</a:t>
          </a:r>
        </a:p>
      </dgm:t>
    </dgm:pt>
    <dgm:pt modelId="{3D619D71-2557-4F7E-B893-0BE37349D914}" type="parTrans" cxnId="{6E4F68F0-8FB8-4596-87A0-9DBAB8FD1C05}">
      <dgm:prSet/>
      <dgm:spPr/>
      <dgm:t>
        <a:bodyPr/>
        <a:lstStyle/>
        <a:p>
          <a:endParaRPr lang="da-DK" sz="900"/>
        </a:p>
      </dgm:t>
    </dgm:pt>
    <dgm:pt modelId="{E2F514AA-3F54-4E68-A113-8C8C65730858}" type="sibTrans" cxnId="{6E4F68F0-8FB8-4596-87A0-9DBAB8FD1C05}">
      <dgm:prSet/>
      <dgm:spPr/>
      <dgm:t>
        <a:bodyPr/>
        <a:lstStyle/>
        <a:p>
          <a:endParaRPr lang="da-DK" sz="900"/>
        </a:p>
      </dgm:t>
    </dgm:pt>
    <dgm:pt modelId="{DCBB21FD-853F-42E5-94E2-EBD62BFFDA77}">
      <dgm:prSet phldrT="[Tekst]" custT="1"/>
      <dgm:spPr/>
      <dgm:t>
        <a:bodyPr/>
        <a:lstStyle/>
        <a:p>
          <a:r>
            <a:rPr lang="da-DK" sz="900" b="0" dirty="0"/>
            <a:t>Jeg benytter min telefon fra et ikke EU land og ringer til et EU land</a:t>
          </a:r>
        </a:p>
      </dgm:t>
    </dgm:pt>
    <dgm:pt modelId="{EA04F669-F1DF-4CB2-B069-075687F32175}" type="parTrans" cxnId="{6C0B1212-6729-45F8-8466-CE7611C37A61}">
      <dgm:prSet/>
      <dgm:spPr/>
      <dgm:t>
        <a:bodyPr/>
        <a:lstStyle/>
        <a:p>
          <a:endParaRPr lang="da-DK" sz="900"/>
        </a:p>
      </dgm:t>
    </dgm:pt>
    <dgm:pt modelId="{3E5ADEF0-F53C-44EA-B594-435E45868D76}" type="sibTrans" cxnId="{6C0B1212-6729-45F8-8466-CE7611C37A61}">
      <dgm:prSet/>
      <dgm:spPr/>
      <dgm:t>
        <a:bodyPr/>
        <a:lstStyle/>
        <a:p>
          <a:endParaRPr lang="da-DK" sz="900"/>
        </a:p>
      </dgm:t>
    </dgm:pt>
    <dgm:pt modelId="{7A638A9D-64F2-431E-88B9-8CDB03F4957E}">
      <dgm:prSet phldrT="[Tekst]" custT="1"/>
      <dgm:spPr/>
      <dgm:t>
        <a:bodyPr/>
        <a:lstStyle/>
        <a:p>
          <a:r>
            <a:rPr lang="da-DK" sz="900" b="0" dirty="0"/>
            <a:t>Opkald fra et EU land til Danmark er inkluderet i dit SKI 50.48 </a:t>
          </a:r>
          <a:r>
            <a:rPr lang="da-DK" sz="900" b="0" dirty="0" err="1"/>
            <a:t>flatrate</a:t>
          </a:r>
          <a:r>
            <a:rPr lang="da-DK" sz="900" b="0" dirty="0"/>
            <a:t> abonnement.</a:t>
          </a:r>
          <a:br>
            <a:rPr lang="da-DK" sz="900" b="0" dirty="0"/>
          </a:br>
          <a:endParaRPr lang="da-DK" sz="900" b="1" dirty="0"/>
        </a:p>
      </dgm:t>
    </dgm:pt>
    <dgm:pt modelId="{D5812875-4760-4C8F-953D-5B5E905107D0}" type="parTrans" cxnId="{5E4752BF-288F-4174-A7B7-714A54FBD810}">
      <dgm:prSet/>
      <dgm:spPr/>
      <dgm:t>
        <a:bodyPr/>
        <a:lstStyle/>
        <a:p>
          <a:endParaRPr lang="da-DK" sz="900"/>
        </a:p>
      </dgm:t>
    </dgm:pt>
    <dgm:pt modelId="{71C1C2B4-424D-4A64-B901-9807070980F0}" type="sibTrans" cxnId="{5E4752BF-288F-4174-A7B7-714A54FBD810}">
      <dgm:prSet/>
      <dgm:spPr/>
      <dgm:t>
        <a:bodyPr/>
        <a:lstStyle/>
        <a:p>
          <a:endParaRPr lang="da-DK" sz="900"/>
        </a:p>
      </dgm:t>
    </dgm:pt>
    <dgm:pt modelId="{79F5FDC6-6D36-4C0A-A0E6-A939FFD3CD65}">
      <dgm:prSet phldrT="[Tekst]" custT="1"/>
      <dgm:spPr/>
      <dgm:t>
        <a:bodyPr/>
        <a:lstStyle/>
        <a:p>
          <a:r>
            <a:rPr lang="da-DK" sz="900" b="0" dirty="0"/>
            <a:t>Opkald fra et EU land til et andet EU lander er inkluderet i dit SKI 50.48 </a:t>
          </a:r>
          <a:r>
            <a:rPr lang="da-DK" sz="900" b="0" dirty="0" err="1"/>
            <a:t>flatrate</a:t>
          </a:r>
          <a:r>
            <a:rPr lang="da-DK" sz="900" b="0" dirty="0"/>
            <a:t> abonnement.</a:t>
          </a:r>
          <a:endParaRPr lang="da-DK" sz="900" b="1" dirty="0"/>
        </a:p>
      </dgm:t>
    </dgm:pt>
    <dgm:pt modelId="{FB9D3F39-9ACE-43B6-A460-D68FB59B23AA}" type="parTrans" cxnId="{5AF34833-4C0E-4E78-B145-D28E14A23830}">
      <dgm:prSet/>
      <dgm:spPr/>
      <dgm:t>
        <a:bodyPr/>
        <a:lstStyle/>
        <a:p>
          <a:endParaRPr lang="da-DK" sz="900"/>
        </a:p>
      </dgm:t>
    </dgm:pt>
    <dgm:pt modelId="{AC87D775-CD8F-49FA-A408-0BA00B15FF2C}" type="sibTrans" cxnId="{5AF34833-4C0E-4E78-B145-D28E14A23830}">
      <dgm:prSet/>
      <dgm:spPr/>
      <dgm:t>
        <a:bodyPr/>
        <a:lstStyle/>
        <a:p>
          <a:endParaRPr lang="da-DK" sz="900"/>
        </a:p>
      </dgm:t>
    </dgm:pt>
    <dgm:pt modelId="{FD784C52-15D5-4439-84E4-598164F54AEC}">
      <dgm:prSet phldrT="[Tekst]" custT="1"/>
      <dgm:spPr/>
      <dgm:t>
        <a:bodyPr/>
        <a:lstStyle/>
        <a:p>
          <a:r>
            <a:rPr lang="da-DK" sz="900" b="0" dirty="0"/>
            <a:t>Priserne er angivet i SKI 50.48 prislisten i kategorierne: </a:t>
          </a:r>
          <a:br>
            <a:rPr lang="da-DK" sz="900" b="0" dirty="0"/>
          </a:br>
          <a:r>
            <a:rPr lang="da-DK" sz="900" b="0" dirty="0" err="1"/>
            <a:t>Mobiltelefoni</a:t>
          </a:r>
          <a:r>
            <a:rPr lang="da-DK" sz="900" b="0" dirty="0"/>
            <a:t> - Roaming foretaget i udland (opkald foretaget i et andet land end Danmark)</a:t>
          </a:r>
          <a:br>
            <a:rPr lang="da-DK" sz="900" b="0" dirty="0"/>
          </a:br>
          <a:r>
            <a:rPr lang="da-DK" sz="900" b="0" i="0" u="none" dirty="0" err="1"/>
            <a:t>Mobiltelefoni</a:t>
          </a:r>
          <a:r>
            <a:rPr lang="da-DK" sz="900" b="0" i="0" u="none" dirty="0"/>
            <a:t> - Roaming - modtaget i udlandet (opkald modtaget i et andet land end Danmark)</a:t>
          </a:r>
          <a:br>
            <a:rPr lang="da-DK" sz="900" b="0" i="0" u="none" dirty="0"/>
          </a:br>
          <a:r>
            <a:rPr lang="da-DK" sz="900" b="0" i="0" u="none" dirty="0"/>
            <a:t>SMS afsendt fra udland</a:t>
          </a:r>
          <a:endParaRPr lang="da-DK" sz="900" b="1" dirty="0"/>
        </a:p>
      </dgm:t>
    </dgm:pt>
    <dgm:pt modelId="{12EDE149-7C81-446D-883F-A866B94C96D1}" type="parTrans" cxnId="{439243DA-1BD6-4F14-93BA-3DDC0B9B3633}">
      <dgm:prSet/>
      <dgm:spPr/>
      <dgm:t>
        <a:bodyPr/>
        <a:lstStyle/>
        <a:p>
          <a:endParaRPr lang="da-DK" sz="900"/>
        </a:p>
      </dgm:t>
    </dgm:pt>
    <dgm:pt modelId="{75CBA25A-EBC4-47AC-A6EB-878B632CED1B}" type="sibTrans" cxnId="{439243DA-1BD6-4F14-93BA-3DDC0B9B3633}">
      <dgm:prSet/>
      <dgm:spPr/>
      <dgm:t>
        <a:bodyPr/>
        <a:lstStyle/>
        <a:p>
          <a:endParaRPr lang="da-DK" sz="900"/>
        </a:p>
      </dgm:t>
    </dgm:pt>
    <dgm:pt modelId="{51D4C446-D552-4E13-8376-6C3326E726DE}">
      <dgm:prSet phldrT="[Tekst]" custT="1"/>
      <dgm:spPr/>
      <dgm:t>
        <a:bodyPr/>
        <a:lstStyle/>
        <a:p>
          <a:r>
            <a:rPr lang="da-DK" sz="900" b="0" dirty="0"/>
            <a:t>Priserne er angivet i SKI 50.48 prislisten i kategorierne: </a:t>
          </a:r>
          <a:br>
            <a:rPr lang="da-DK" sz="900" b="0" dirty="0"/>
          </a:br>
          <a:r>
            <a:rPr lang="da-DK" sz="900" b="0" dirty="0" err="1"/>
            <a:t>Mobiltelefoni</a:t>
          </a:r>
          <a:r>
            <a:rPr lang="da-DK" sz="900" b="0" dirty="0"/>
            <a:t> - Roaming foretaget i udland (opkald foretaget i et andet land end Danmark)</a:t>
          </a:r>
          <a:br>
            <a:rPr lang="da-DK" sz="900" b="0" dirty="0"/>
          </a:br>
          <a:r>
            <a:rPr lang="da-DK" sz="900" b="0" i="0" u="none" dirty="0" err="1"/>
            <a:t>Mobiltelefoni</a:t>
          </a:r>
          <a:r>
            <a:rPr lang="da-DK" sz="900" b="0" i="0" u="none" dirty="0"/>
            <a:t> - Roaming - modtaget i udlandet (opkald modtaget i et andet land end Danmark)</a:t>
          </a:r>
          <a:br>
            <a:rPr lang="da-DK" sz="900" b="0" i="0" u="none" dirty="0"/>
          </a:br>
          <a:r>
            <a:rPr lang="da-DK" sz="900" b="0" i="0" u="none" dirty="0"/>
            <a:t>SMS afsendt fra udland</a:t>
          </a:r>
          <a:endParaRPr lang="da-DK" sz="900" b="1" dirty="0"/>
        </a:p>
      </dgm:t>
    </dgm:pt>
    <dgm:pt modelId="{471B9E06-8E63-40DB-961F-81F43800BBC9}" type="parTrans" cxnId="{ECA3184A-821C-481D-9890-5D43715855AA}">
      <dgm:prSet/>
      <dgm:spPr/>
      <dgm:t>
        <a:bodyPr/>
        <a:lstStyle/>
        <a:p>
          <a:endParaRPr lang="da-DK" sz="900"/>
        </a:p>
      </dgm:t>
    </dgm:pt>
    <dgm:pt modelId="{7C56020D-0A01-493C-B661-3F835B5808A5}" type="sibTrans" cxnId="{ECA3184A-821C-481D-9890-5D43715855AA}">
      <dgm:prSet/>
      <dgm:spPr/>
      <dgm:t>
        <a:bodyPr/>
        <a:lstStyle/>
        <a:p>
          <a:endParaRPr lang="da-DK" sz="900"/>
        </a:p>
      </dgm:t>
    </dgm:pt>
    <dgm:pt modelId="{A87A8CFD-AAB0-499C-B6B3-DE0A221C0429}">
      <dgm:prSet phldrT="[Tekst]" custT="1"/>
      <dgm:spPr/>
      <dgm:t>
        <a:bodyPr/>
        <a:lstStyle/>
        <a:p>
          <a:r>
            <a:rPr lang="da-DK" sz="900" b="0" dirty="0"/>
            <a:t>Priserne er angivet i SKI 50.48 prislisten i kategorierne: </a:t>
          </a:r>
          <a:br>
            <a:rPr lang="da-DK" sz="900" b="0" dirty="0"/>
          </a:br>
          <a:r>
            <a:rPr lang="da-DK" sz="900" b="0" dirty="0" err="1"/>
            <a:t>Mobiltelefoni</a:t>
          </a:r>
          <a:r>
            <a:rPr lang="da-DK" sz="900" b="0" dirty="0"/>
            <a:t> - Roaming foretaget i udland (opkald foretaget i et andet land end Danmark)</a:t>
          </a:r>
          <a:br>
            <a:rPr lang="da-DK" sz="900" b="0" dirty="0"/>
          </a:br>
          <a:r>
            <a:rPr lang="da-DK" sz="900" b="0" i="0" u="none" dirty="0" err="1"/>
            <a:t>Mobiltelefoni</a:t>
          </a:r>
          <a:r>
            <a:rPr lang="da-DK" sz="900" b="0" i="0" u="none" dirty="0"/>
            <a:t> - Roaming - modtaget i udlandet (opkald modtaget i et andet land end Danmark)</a:t>
          </a:r>
          <a:br>
            <a:rPr lang="da-DK" sz="900" b="0" i="0" u="none" dirty="0"/>
          </a:br>
          <a:r>
            <a:rPr lang="da-DK" sz="900" b="0" i="0" u="none" dirty="0"/>
            <a:t>SMS afsendt fra udland</a:t>
          </a:r>
          <a:endParaRPr lang="da-DK" sz="900" b="1" dirty="0"/>
        </a:p>
      </dgm:t>
    </dgm:pt>
    <dgm:pt modelId="{E3F62EA2-0975-4215-8B66-7FBFC4F4BE6B}" type="parTrans" cxnId="{E65B9D54-B2CB-43F9-B786-77625FF68D4E}">
      <dgm:prSet/>
      <dgm:spPr/>
      <dgm:t>
        <a:bodyPr/>
        <a:lstStyle/>
        <a:p>
          <a:endParaRPr lang="da-DK" sz="900"/>
        </a:p>
      </dgm:t>
    </dgm:pt>
    <dgm:pt modelId="{884B63FE-DC85-4D67-A1C5-CC50D2361346}" type="sibTrans" cxnId="{E65B9D54-B2CB-43F9-B786-77625FF68D4E}">
      <dgm:prSet/>
      <dgm:spPr/>
      <dgm:t>
        <a:bodyPr/>
        <a:lstStyle/>
        <a:p>
          <a:endParaRPr lang="da-DK" sz="900"/>
        </a:p>
      </dgm:t>
    </dgm:pt>
    <dgm:pt modelId="{4432C022-54B8-42C0-89AF-E71AA8810DD1}">
      <dgm:prSet phldrT="[Tekst]" custT="1"/>
      <dgm:spPr/>
      <dgm:t>
        <a:bodyPr/>
        <a:lstStyle/>
        <a:p>
          <a:r>
            <a:rPr lang="da-DK" sz="900" b="0" dirty="0"/>
            <a:t>Jeg benytter min telefon fra et ikke EU land og ringer til et ikke EU land</a:t>
          </a:r>
          <a:br>
            <a:rPr lang="da-DK" sz="900" b="1" dirty="0"/>
          </a:br>
          <a:endParaRPr lang="da-DK" sz="900" dirty="0"/>
        </a:p>
      </dgm:t>
    </dgm:pt>
    <dgm:pt modelId="{048E4076-4196-4E15-9615-E3F2111885BD}" type="parTrans" cxnId="{C4323FE6-314F-4036-AAC2-2B186992FC95}">
      <dgm:prSet/>
      <dgm:spPr/>
      <dgm:t>
        <a:bodyPr/>
        <a:lstStyle/>
        <a:p>
          <a:endParaRPr lang="da-DK" sz="900"/>
        </a:p>
      </dgm:t>
    </dgm:pt>
    <dgm:pt modelId="{9917BC3C-1220-42FF-9854-377BAA690DEF}" type="sibTrans" cxnId="{C4323FE6-314F-4036-AAC2-2B186992FC95}">
      <dgm:prSet/>
      <dgm:spPr/>
      <dgm:t>
        <a:bodyPr/>
        <a:lstStyle/>
        <a:p>
          <a:endParaRPr lang="da-DK" sz="900"/>
        </a:p>
      </dgm:t>
    </dgm:pt>
    <dgm:pt modelId="{DB955CCC-D262-4FB0-B929-CA5D3F6B4068}">
      <dgm:prSet phldrT="[Tekst]" custT="1"/>
      <dgm:spPr/>
      <dgm:t>
        <a:bodyPr/>
        <a:lstStyle/>
        <a:p>
          <a:r>
            <a:rPr lang="da-DK" sz="900" b="0" dirty="0"/>
            <a:t>Priserne er angivet i SKI 50.48 prislisten i kategorierne: </a:t>
          </a:r>
          <a:br>
            <a:rPr lang="da-DK" sz="900" b="0" dirty="0"/>
          </a:br>
          <a:r>
            <a:rPr lang="da-DK" sz="900" b="0" dirty="0" err="1"/>
            <a:t>Mobiltelefoni</a:t>
          </a:r>
          <a:r>
            <a:rPr lang="da-DK" sz="900" b="0" dirty="0"/>
            <a:t> - Roaming foretaget i udland (opkald foretaget i et andet land end Danmark)</a:t>
          </a:r>
          <a:br>
            <a:rPr lang="da-DK" sz="900" b="0" dirty="0"/>
          </a:br>
          <a:r>
            <a:rPr lang="da-DK" sz="900" b="0" i="0" u="none" dirty="0" err="1"/>
            <a:t>Mobiltelefoni</a:t>
          </a:r>
          <a:r>
            <a:rPr lang="da-DK" sz="900" b="0" i="0" u="none" dirty="0"/>
            <a:t> - Roaming - modtaget i udlandet (opkald modtaget i et andet land end Danmark)</a:t>
          </a:r>
          <a:br>
            <a:rPr lang="da-DK" sz="900" b="0" i="0" u="none" dirty="0"/>
          </a:br>
          <a:r>
            <a:rPr lang="da-DK" sz="900" b="0" i="0" u="none" dirty="0"/>
            <a:t>SMS afsendt fra udland</a:t>
          </a:r>
          <a:endParaRPr lang="da-DK" sz="900" b="1" dirty="0"/>
        </a:p>
      </dgm:t>
    </dgm:pt>
    <dgm:pt modelId="{60F489A6-1702-49D5-B40B-9D98F9583FDB}" type="parTrans" cxnId="{8DE025BA-8BBC-4CB8-9E20-D7E9B998B42D}">
      <dgm:prSet/>
      <dgm:spPr/>
      <dgm:t>
        <a:bodyPr/>
        <a:lstStyle/>
        <a:p>
          <a:endParaRPr lang="da-DK" sz="900"/>
        </a:p>
      </dgm:t>
    </dgm:pt>
    <dgm:pt modelId="{21D2A61A-77DF-4323-80E0-D6B1D41EBAC4}" type="sibTrans" cxnId="{8DE025BA-8BBC-4CB8-9E20-D7E9B998B42D}">
      <dgm:prSet/>
      <dgm:spPr/>
      <dgm:t>
        <a:bodyPr/>
        <a:lstStyle/>
        <a:p>
          <a:endParaRPr lang="da-DK" sz="900"/>
        </a:p>
      </dgm:t>
    </dgm:pt>
    <dgm:pt modelId="{225D1153-B247-4E76-96F8-FD2B8E01BB3B}">
      <dgm:prSet phldrT="[Tekst]" custT="1"/>
      <dgm:spPr/>
      <dgm:t>
        <a:bodyPr/>
        <a:lstStyle/>
        <a:p>
          <a:endParaRPr lang="da-DK" sz="900" b="1" dirty="0"/>
        </a:p>
      </dgm:t>
    </dgm:pt>
    <dgm:pt modelId="{2CC5C681-2BA4-4635-9A03-64452AEB8986}" type="parTrans" cxnId="{3951817D-19FA-4C94-B91C-20A93F8306E0}">
      <dgm:prSet/>
      <dgm:spPr/>
      <dgm:t>
        <a:bodyPr/>
        <a:lstStyle/>
        <a:p>
          <a:endParaRPr lang="da-DK" sz="900"/>
        </a:p>
      </dgm:t>
    </dgm:pt>
    <dgm:pt modelId="{8601BCF0-F2C4-445A-97A6-6C5276F3A68D}" type="sibTrans" cxnId="{3951817D-19FA-4C94-B91C-20A93F8306E0}">
      <dgm:prSet/>
      <dgm:spPr/>
      <dgm:t>
        <a:bodyPr/>
        <a:lstStyle/>
        <a:p>
          <a:endParaRPr lang="da-DK" sz="900"/>
        </a:p>
      </dgm:t>
    </dgm:pt>
    <dgm:pt modelId="{CDEA02FB-30EF-4519-B746-92F9203CE688}">
      <dgm:prSet phldrT="[Tekst]" custT="1"/>
      <dgm:spPr/>
      <dgm:t>
        <a:bodyPr/>
        <a:lstStyle/>
        <a:p>
          <a:r>
            <a:rPr lang="da-DK" sz="900" b="0" dirty="0"/>
            <a:t>Jeg benytter min telefon fra Danmark og ringer til et ikke EU land</a:t>
          </a:r>
        </a:p>
      </dgm:t>
    </dgm:pt>
    <dgm:pt modelId="{195EBB80-2421-44B0-93F8-52D30289BF3B}" type="sibTrans" cxnId="{561CE1DF-7E1F-423B-B406-E5CF13153A3B}">
      <dgm:prSet/>
      <dgm:spPr/>
      <dgm:t>
        <a:bodyPr/>
        <a:lstStyle/>
        <a:p>
          <a:endParaRPr lang="da-DK" sz="900"/>
        </a:p>
      </dgm:t>
    </dgm:pt>
    <dgm:pt modelId="{07624D4D-9234-4DEC-A695-EABA2C3775A5}" type="parTrans" cxnId="{561CE1DF-7E1F-423B-B406-E5CF13153A3B}">
      <dgm:prSet/>
      <dgm:spPr/>
      <dgm:t>
        <a:bodyPr/>
        <a:lstStyle/>
        <a:p>
          <a:endParaRPr lang="da-DK" sz="900"/>
        </a:p>
      </dgm:t>
    </dgm:pt>
    <dgm:pt modelId="{F1CACCDB-56E9-43C3-BF0D-554F506C505A}">
      <dgm:prSet phldrT="[Tekst]" custT="1"/>
      <dgm:spPr/>
      <dgm:t>
        <a:bodyPr/>
        <a:lstStyle/>
        <a:p>
          <a:r>
            <a:rPr lang="da-DK" sz="900" b="0" dirty="0"/>
            <a:t>Jeg benytter min telefon fra et ikke EU land og ringer til Danmark</a:t>
          </a:r>
        </a:p>
      </dgm:t>
    </dgm:pt>
    <dgm:pt modelId="{8B8A891B-F6CA-4CA0-9F4D-FC112E67A102}" type="sibTrans" cxnId="{F7AADF58-A6D7-4EEE-96EF-0F6B0510AFC9}">
      <dgm:prSet/>
      <dgm:spPr/>
      <dgm:t>
        <a:bodyPr/>
        <a:lstStyle/>
        <a:p>
          <a:endParaRPr lang="da-DK" sz="900"/>
        </a:p>
      </dgm:t>
    </dgm:pt>
    <dgm:pt modelId="{3CE2575E-58FF-48FB-9AE1-F210A9B19505}" type="parTrans" cxnId="{F7AADF58-A6D7-4EEE-96EF-0F6B0510AFC9}">
      <dgm:prSet/>
      <dgm:spPr/>
      <dgm:t>
        <a:bodyPr/>
        <a:lstStyle/>
        <a:p>
          <a:endParaRPr lang="da-DK" sz="900"/>
        </a:p>
      </dgm:t>
    </dgm:pt>
    <dgm:pt modelId="{588F965E-B9DE-490F-9324-E113FBF274D1}" type="pres">
      <dgm:prSet presAssocID="{8001B9AF-CDE1-4421-8787-0B5ABA53FCC4}" presName="Name0" presStyleCnt="0">
        <dgm:presLayoutVars>
          <dgm:dir/>
          <dgm:animLvl val="lvl"/>
          <dgm:resizeHandles val="exact"/>
        </dgm:presLayoutVars>
      </dgm:prSet>
      <dgm:spPr/>
    </dgm:pt>
    <dgm:pt modelId="{5C1CC0AF-73D6-4B97-A0F7-EA61C792B190}" type="pres">
      <dgm:prSet presAssocID="{CA6407DD-EFAD-4843-B596-3E0C046DFBEB}" presName="linNode" presStyleCnt="0"/>
      <dgm:spPr/>
    </dgm:pt>
    <dgm:pt modelId="{DD64E41A-B014-4F17-9321-744490CC49CC}" type="pres">
      <dgm:prSet presAssocID="{CA6407DD-EFAD-4843-B596-3E0C046DFBEB}" presName="parentText" presStyleLbl="node1" presStyleIdx="0" presStyleCnt="8" custScaleX="70308" custScaleY="195838">
        <dgm:presLayoutVars>
          <dgm:chMax val="1"/>
          <dgm:bulletEnabled val="1"/>
        </dgm:presLayoutVars>
      </dgm:prSet>
      <dgm:spPr/>
    </dgm:pt>
    <dgm:pt modelId="{1F81ADE2-C003-4CE0-AD03-1FCE0920B9C4}" type="pres">
      <dgm:prSet presAssocID="{CA6407DD-EFAD-4843-B596-3E0C046DFBEB}" presName="descendantText" presStyleLbl="alignAccFollowNode1" presStyleIdx="0" presStyleCnt="8" custScaleY="195838">
        <dgm:presLayoutVars>
          <dgm:bulletEnabled val="1"/>
        </dgm:presLayoutVars>
      </dgm:prSet>
      <dgm:spPr/>
    </dgm:pt>
    <dgm:pt modelId="{2D899150-A7DA-4DFD-A912-1E65014A4A20}" type="pres">
      <dgm:prSet presAssocID="{F117DDC3-CEC0-4ADF-9D06-F5FD2FFA8B29}" presName="sp" presStyleCnt="0"/>
      <dgm:spPr/>
    </dgm:pt>
    <dgm:pt modelId="{2878327D-B763-48AB-892F-C5A859B9A6E6}" type="pres">
      <dgm:prSet presAssocID="{CDEA02FB-30EF-4519-B746-92F9203CE688}" presName="linNode" presStyleCnt="0"/>
      <dgm:spPr/>
    </dgm:pt>
    <dgm:pt modelId="{B27E4E8E-BE7E-4859-93AE-C99790AF3120}" type="pres">
      <dgm:prSet presAssocID="{CDEA02FB-30EF-4519-B746-92F9203CE688}" presName="parentText" presStyleLbl="node1" presStyleIdx="1" presStyleCnt="8" custScaleX="70308" custScaleY="195838">
        <dgm:presLayoutVars>
          <dgm:chMax val="1"/>
          <dgm:bulletEnabled val="1"/>
        </dgm:presLayoutVars>
      </dgm:prSet>
      <dgm:spPr/>
    </dgm:pt>
    <dgm:pt modelId="{62C900BD-34DA-4242-B524-A9BC141D3C9A}" type="pres">
      <dgm:prSet presAssocID="{CDEA02FB-30EF-4519-B746-92F9203CE688}" presName="descendantText" presStyleLbl="alignAccFollowNode1" presStyleIdx="1" presStyleCnt="8" custScaleY="195838">
        <dgm:presLayoutVars>
          <dgm:bulletEnabled val="1"/>
        </dgm:presLayoutVars>
      </dgm:prSet>
      <dgm:spPr/>
    </dgm:pt>
    <dgm:pt modelId="{664E7A7E-EE30-4E32-BFF2-0139E22DDD1C}" type="pres">
      <dgm:prSet presAssocID="{195EBB80-2421-44B0-93F8-52D30289BF3B}" presName="sp" presStyleCnt="0"/>
      <dgm:spPr/>
    </dgm:pt>
    <dgm:pt modelId="{1E4C7B46-96E0-4DF3-BC42-B1814CA5BD05}" type="pres">
      <dgm:prSet presAssocID="{3E236C0E-CA28-4164-8626-6AD71D2FAF2A}" presName="linNode" presStyleCnt="0"/>
      <dgm:spPr/>
    </dgm:pt>
    <dgm:pt modelId="{691FB358-6D9A-47C0-AB9B-32649D5652E5}" type="pres">
      <dgm:prSet presAssocID="{3E236C0E-CA28-4164-8626-6AD71D2FAF2A}" presName="parentText" presStyleLbl="node1" presStyleIdx="2" presStyleCnt="8" custScaleX="70308" custScaleY="177488">
        <dgm:presLayoutVars>
          <dgm:chMax val="1"/>
          <dgm:bulletEnabled val="1"/>
        </dgm:presLayoutVars>
      </dgm:prSet>
      <dgm:spPr/>
    </dgm:pt>
    <dgm:pt modelId="{FA123E8B-2174-4ABB-B6F9-E14370CC7E07}" type="pres">
      <dgm:prSet presAssocID="{3E236C0E-CA28-4164-8626-6AD71D2FAF2A}" presName="descendantText" presStyleLbl="alignAccFollowNode1" presStyleIdx="2" presStyleCnt="8" custScaleY="219418">
        <dgm:presLayoutVars>
          <dgm:bulletEnabled val="1"/>
        </dgm:presLayoutVars>
      </dgm:prSet>
      <dgm:spPr/>
    </dgm:pt>
    <dgm:pt modelId="{0AD89FBB-553C-4605-9033-7A03440ECE7C}" type="pres">
      <dgm:prSet presAssocID="{3F54593A-7309-4A52-91E9-63818B1C0BCE}" presName="sp" presStyleCnt="0"/>
      <dgm:spPr/>
    </dgm:pt>
    <dgm:pt modelId="{8ACCCDE3-B756-47A9-B019-718C1F0FE794}" type="pres">
      <dgm:prSet presAssocID="{928D3D85-7127-451D-9075-CE5D38A3EB82}" presName="linNode" presStyleCnt="0"/>
      <dgm:spPr/>
    </dgm:pt>
    <dgm:pt modelId="{B2963817-1E97-4376-AC06-D9CD09F6C597}" type="pres">
      <dgm:prSet presAssocID="{928D3D85-7127-451D-9075-CE5D38A3EB82}" presName="parentText" presStyleLbl="node1" presStyleIdx="3" presStyleCnt="8" custScaleX="70308" custScaleY="195965" custLinFactNeighborY="0">
        <dgm:presLayoutVars>
          <dgm:chMax val="1"/>
          <dgm:bulletEnabled val="1"/>
        </dgm:presLayoutVars>
      </dgm:prSet>
      <dgm:spPr/>
    </dgm:pt>
    <dgm:pt modelId="{986570E6-AE4F-419C-800E-E5051EE3E1D2}" type="pres">
      <dgm:prSet presAssocID="{928D3D85-7127-451D-9075-CE5D38A3EB82}" presName="descendantText" presStyleLbl="alignAccFollowNode1" presStyleIdx="3" presStyleCnt="8" custScaleY="195966" custLinFactNeighborY="0">
        <dgm:presLayoutVars>
          <dgm:bulletEnabled val="1"/>
        </dgm:presLayoutVars>
      </dgm:prSet>
      <dgm:spPr/>
    </dgm:pt>
    <dgm:pt modelId="{C608B705-D1D1-422B-B2D9-879B0BFEC322}" type="pres">
      <dgm:prSet presAssocID="{4A75A6F6-6790-4FD1-B938-925F8F147FC0}" presName="sp" presStyleCnt="0"/>
      <dgm:spPr/>
    </dgm:pt>
    <dgm:pt modelId="{D59D3074-5463-498A-943E-31CEE08D877A}" type="pres">
      <dgm:prSet presAssocID="{49957A5F-3CD3-4C73-A3D1-371A7903C3A6}" presName="linNode" presStyleCnt="0"/>
      <dgm:spPr/>
    </dgm:pt>
    <dgm:pt modelId="{F13716B3-20EE-4557-92BE-02BD988244C2}" type="pres">
      <dgm:prSet presAssocID="{49957A5F-3CD3-4C73-A3D1-371A7903C3A6}" presName="parentText" presStyleLbl="node1" presStyleIdx="4" presStyleCnt="8" custScaleX="70308" custScaleY="283934">
        <dgm:presLayoutVars>
          <dgm:chMax val="1"/>
          <dgm:bulletEnabled val="1"/>
        </dgm:presLayoutVars>
      </dgm:prSet>
      <dgm:spPr/>
    </dgm:pt>
    <dgm:pt modelId="{F50729AF-A2E8-4988-AFBB-B10F0E6A2AC7}" type="pres">
      <dgm:prSet presAssocID="{49957A5F-3CD3-4C73-A3D1-371A7903C3A6}" presName="descendantText" presStyleLbl="alignAccFollowNode1" presStyleIdx="4" presStyleCnt="8" custScaleY="318605">
        <dgm:presLayoutVars>
          <dgm:bulletEnabled val="1"/>
        </dgm:presLayoutVars>
      </dgm:prSet>
      <dgm:spPr/>
    </dgm:pt>
    <dgm:pt modelId="{B5CBF0B1-6891-49BB-AE53-62B30BE24652}" type="pres">
      <dgm:prSet presAssocID="{E2F514AA-3F54-4E68-A113-8C8C65730858}" presName="sp" presStyleCnt="0"/>
      <dgm:spPr/>
    </dgm:pt>
    <dgm:pt modelId="{203A341B-C5AD-4977-96F7-65DDD23B2C8B}" type="pres">
      <dgm:prSet presAssocID="{F1CACCDB-56E9-43C3-BF0D-554F506C505A}" presName="linNode" presStyleCnt="0"/>
      <dgm:spPr/>
    </dgm:pt>
    <dgm:pt modelId="{B8169308-07CB-4A12-8E3D-6C27E2C210C7}" type="pres">
      <dgm:prSet presAssocID="{F1CACCDB-56E9-43C3-BF0D-554F506C505A}" presName="parentText" presStyleLbl="node1" presStyleIdx="5" presStyleCnt="8" custScaleX="70308" custScaleY="284877">
        <dgm:presLayoutVars>
          <dgm:chMax val="1"/>
          <dgm:bulletEnabled val="1"/>
        </dgm:presLayoutVars>
      </dgm:prSet>
      <dgm:spPr/>
    </dgm:pt>
    <dgm:pt modelId="{7D2AAF44-4A9F-496A-A3A5-A720EDA4DB70}" type="pres">
      <dgm:prSet presAssocID="{F1CACCDB-56E9-43C3-BF0D-554F506C505A}" presName="descendantText" presStyleLbl="alignAccFollowNode1" presStyleIdx="5" presStyleCnt="8" custScaleY="284876">
        <dgm:presLayoutVars>
          <dgm:bulletEnabled val="1"/>
        </dgm:presLayoutVars>
      </dgm:prSet>
      <dgm:spPr/>
    </dgm:pt>
    <dgm:pt modelId="{6F1B62AF-40EA-47CA-A239-3EF62B304E9B}" type="pres">
      <dgm:prSet presAssocID="{8B8A891B-F6CA-4CA0-9F4D-FC112E67A102}" presName="sp" presStyleCnt="0"/>
      <dgm:spPr/>
    </dgm:pt>
    <dgm:pt modelId="{755E08CB-522F-4859-9D80-67BF038CE314}" type="pres">
      <dgm:prSet presAssocID="{DCBB21FD-853F-42E5-94E2-EBD62BFFDA77}" presName="linNode" presStyleCnt="0"/>
      <dgm:spPr/>
    </dgm:pt>
    <dgm:pt modelId="{305B0871-7B45-4290-88DF-2EDCE97A0FE8}" type="pres">
      <dgm:prSet presAssocID="{DCBB21FD-853F-42E5-94E2-EBD62BFFDA77}" presName="parentText" presStyleLbl="node1" presStyleIdx="6" presStyleCnt="8" custScaleX="70308" custScaleY="268828">
        <dgm:presLayoutVars>
          <dgm:chMax val="1"/>
          <dgm:bulletEnabled val="1"/>
        </dgm:presLayoutVars>
      </dgm:prSet>
      <dgm:spPr/>
    </dgm:pt>
    <dgm:pt modelId="{BED83585-7746-45F8-B811-92F3CA5496DC}" type="pres">
      <dgm:prSet presAssocID="{DCBB21FD-853F-42E5-94E2-EBD62BFFDA77}" presName="descendantText" presStyleLbl="alignAccFollowNode1" presStyleIdx="6" presStyleCnt="8" custScaleY="268828">
        <dgm:presLayoutVars>
          <dgm:bulletEnabled val="1"/>
        </dgm:presLayoutVars>
      </dgm:prSet>
      <dgm:spPr/>
    </dgm:pt>
    <dgm:pt modelId="{D01048D7-5E11-464F-8629-84E9D12E3EF7}" type="pres">
      <dgm:prSet presAssocID="{3E5ADEF0-F53C-44EA-B594-435E45868D76}" presName="sp" presStyleCnt="0"/>
      <dgm:spPr/>
    </dgm:pt>
    <dgm:pt modelId="{3F180F7B-4A33-4E55-BBBE-C131BD6E12FE}" type="pres">
      <dgm:prSet presAssocID="{4432C022-54B8-42C0-89AF-E71AA8810DD1}" presName="linNode" presStyleCnt="0"/>
      <dgm:spPr/>
    </dgm:pt>
    <dgm:pt modelId="{B9BEBA7F-42D0-4CFB-B9BC-C8EE2102A203}" type="pres">
      <dgm:prSet presAssocID="{4432C022-54B8-42C0-89AF-E71AA8810DD1}" presName="parentText" presStyleLbl="node1" presStyleIdx="7" presStyleCnt="8" custScaleX="70308" custScaleY="273849">
        <dgm:presLayoutVars>
          <dgm:chMax val="1"/>
          <dgm:bulletEnabled val="1"/>
        </dgm:presLayoutVars>
      </dgm:prSet>
      <dgm:spPr/>
    </dgm:pt>
    <dgm:pt modelId="{6D666509-4E2C-421E-A85A-47D2531327DF}" type="pres">
      <dgm:prSet presAssocID="{4432C022-54B8-42C0-89AF-E71AA8810DD1}" presName="descendantText" presStyleLbl="alignAccFollowNode1" presStyleIdx="7" presStyleCnt="8" custScaleY="273849">
        <dgm:presLayoutVars>
          <dgm:bulletEnabled val="1"/>
        </dgm:presLayoutVars>
      </dgm:prSet>
      <dgm:spPr/>
    </dgm:pt>
  </dgm:ptLst>
  <dgm:cxnLst>
    <dgm:cxn modelId="{22B74F01-6ED7-4C63-A66C-984E85F64859}" srcId="{CDEA02FB-30EF-4519-B746-92F9203CE688}" destId="{8AF62308-50A6-4D42-8815-1170848063C0}" srcOrd="0" destOrd="0" parTransId="{A64ED254-0AFC-48CB-AA53-6096EA7A9D57}" sibTransId="{DFF23AB8-B9E7-4313-A185-C9667002A6CB}"/>
    <dgm:cxn modelId="{8CC0870E-023E-4370-980A-7DD67BFEDADC}" type="presOf" srcId="{3E236C0E-CA28-4164-8626-6AD71D2FAF2A}" destId="{691FB358-6D9A-47C0-AB9B-32649D5652E5}" srcOrd="0" destOrd="0" presId="urn:microsoft.com/office/officeart/2005/8/layout/vList5"/>
    <dgm:cxn modelId="{FE250F12-8971-449C-BBC9-ED4177CEED50}" type="presOf" srcId="{225D1153-B247-4E76-96F8-FD2B8E01BB3B}" destId="{FA123E8B-2174-4ABB-B6F9-E14370CC7E07}" srcOrd="0" destOrd="0" presId="urn:microsoft.com/office/officeart/2005/8/layout/vList5"/>
    <dgm:cxn modelId="{6C0B1212-6729-45F8-8466-CE7611C37A61}" srcId="{8001B9AF-CDE1-4421-8787-0B5ABA53FCC4}" destId="{DCBB21FD-853F-42E5-94E2-EBD62BFFDA77}" srcOrd="6" destOrd="0" parTransId="{EA04F669-F1DF-4CB2-B069-075687F32175}" sibTransId="{3E5ADEF0-F53C-44EA-B594-435E45868D76}"/>
    <dgm:cxn modelId="{E0D0E514-85E0-4819-B543-730ED6313110}" type="presOf" srcId="{622BEC60-5717-4F87-B8FF-4F38CDD2DA8E}" destId="{1F81ADE2-C003-4CE0-AD03-1FCE0920B9C4}" srcOrd="0" destOrd="0" presId="urn:microsoft.com/office/officeart/2005/8/layout/vList5"/>
    <dgm:cxn modelId="{11501C2E-FC9D-420C-94AC-EA5F664732C1}" type="presOf" srcId="{4432C022-54B8-42C0-89AF-E71AA8810DD1}" destId="{B9BEBA7F-42D0-4CFB-B9BC-C8EE2102A203}" srcOrd="0" destOrd="0" presId="urn:microsoft.com/office/officeart/2005/8/layout/vList5"/>
    <dgm:cxn modelId="{70308B31-8A93-49E6-A05A-F4640C0663E7}" type="presOf" srcId="{CDEA02FB-30EF-4519-B746-92F9203CE688}" destId="{B27E4E8E-BE7E-4859-93AE-C99790AF3120}" srcOrd="0" destOrd="0" presId="urn:microsoft.com/office/officeart/2005/8/layout/vList5"/>
    <dgm:cxn modelId="{5AF34833-4C0E-4E78-B145-D28E14A23830}" srcId="{928D3D85-7127-451D-9075-CE5D38A3EB82}" destId="{79F5FDC6-6D36-4C0A-A0E6-A939FFD3CD65}" srcOrd="0" destOrd="0" parTransId="{FB9D3F39-9ACE-43B6-A460-D68FB59B23AA}" sibTransId="{AC87D775-CD8F-49FA-A408-0BA00B15FF2C}"/>
    <dgm:cxn modelId="{A0B55D34-4F00-442F-B39C-E5B3FBDAB445}" srcId="{8001B9AF-CDE1-4421-8787-0B5ABA53FCC4}" destId="{928D3D85-7127-451D-9075-CE5D38A3EB82}" srcOrd="3" destOrd="0" parTransId="{5F902668-D6F0-4000-BCBF-F8637BBF4D0F}" sibTransId="{4A75A6F6-6790-4FD1-B938-925F8F147FC0}"/>
    <dgm:cxn modelId="{A3D0415F-E062-4FB5-AE22-1EE6FB1FBDF9}" type="presOf" srcId="{51D4C446-D552-4E13-8376-6C3326E726DE}" destId="{7D2AAF44-4A9F-496A-A3A5-A720EDA4DB70}" srcOrd="0" destOrd="0" presId="urn:microsoft.com/office/officeart/2005/8/layout/vList5"/>
    <dgm:cxn modelId="{0198F762-6934-4B42-9B0E-23A31BC7155F}" srcId="{CA6407DD-EFAD-4843-B596-3E0C046DFBEB}" destId="{622BEC60-5717-4F87-B8FF-4F38CDD2DA8E}" srcOrd="0" destOrd="0" parTransId="{BE74CB8C-CB73-4BB3-92CD-4E846D083CBF}" sibTransId="{D308C0AE-4C1A-4DF9-B5F6-CDC7BFC41620}"/>
    <dgm:cxn modelId="{FF33FD62-F11A-4117-8B4E-C41521F78119}" srcId="{8001B9AF-CDE1-4421-8787-0B5ABA53FCC4}" destId="{CA6407DD-EFAD-4843-B596-3E0C046DFBEB}" srcOrd="0" destOrd="0" parTransId="{70D10986-FC17-4915-9EAA-1D5AC45FBC11}" sibTransId="{F117DDC3-CEC0-4ADF-9D06-F5FD2FFA8B29}"/>
    <dgm:cxn modelId="{2A221F45-AAFE-47BF-BF2F-C8345D246143}" type="presOf" srcId="{F1CACCDB-56E9-43C3-BF0D-554F506C505A}" destId="{B8169308-07CB-4A12-8E3D-6C27E2C210C7}" srcOrd="0" destOrd="0" presId="urn:microsoft.com/office/officeart/2005/8/layout/vList5"/>
    <dgm:cxn modelId="{ECA3184A-821C-481D-9890-5D43715855AA}" srcId="{F1CACCDB-56E9-43C3-BF0D-554F506C505A}" destId="{51D4C446-D552-4E13-8376-6C3326E726DE}" srcOrd="0" destOrd="0" parTransId="{471B9E06-8E63-40DB-961F-81F43800BBC9}" sibTransId="{7C56020D-0A01-493C-B661-3F835B5808A5}"/>
    <dgm:cxn modelId="{E65B9D54-B2CB-43F9-B786-77625FF68D4E}" srcId="{DCBB21FD-853F-42E5-94E2-EBD62BFFDA77}" destId="{A87A8CFD-AAB0-499C-B6B3-DE0A221C0429}" srcOrd="0" destOrd="0" parTransId="{E3F62EA2-0975-4215-8B66-7FBFC4F4BE6B}" sibTransId="{884B63FE-DC85-4D67-A1C5-CC50D2361346}"/>
    <dgm:cxn modelId="{D4F09C55-CBE0-4DB1-BD40-72D0E36052FF}" srcId="{8001B9AF-CDE1-4421-8787-0B5ABA53FCC4}" destId="{3E236C0E-CA28-4164-8626-6AD71D2FAF2A}" srcOrd="2" destOrd="0" parTransId="{8CB37897-3C1B-4114-8EE2-EE17D7E37C2E}" sibTransId="{3F54593A-7309-4A52-91E9-63818B1C0BCE}"/>
    <dgm:cxn modelId="{F7AADF58-A6D7-4EEE-96EF-0F6B0510AFC9}" srcId="{8001B9AF-CDE1-4421-8787-0B5ABA53FCC4}" destId="{F1CACCDB-56E9-43C3-BF0D-554F506C505A}" srcOrd="5" destOrd="0" parTransId="{3CE2575E-58FF-48FB-9AE1-F210A9B19505}" sibTransId="{8B8A891B-F6CA-4CA0-9F4D-FC112E67A102}"/>
    <dgm:cxn modelId="{74748E7B-CF98-47A3-AFFF-A5D7FFAD9218}" type="presOf" srcId="{928D3D85-7127-451D-9075-CE5D38A3EB82}" destId="{B2963817-1E97-4376-AC06-D9CD09F6C597}" srcOrd="0" destOrd="0" presId="urn:microsoft.com/office/officeart/2005/8/layout/vList5"/>
    <dgm:cxn modelId="{7B04C07C-017B-44B0-90B7-72007BADE248}" type="presOf" srcId="{DB955CCC-D262-4FB0-B929-CA5D3F6B4068}" destId="{6D666509-4E2C-421E-A85A-47D2531327DF}" srcOrd="0" destOrd="0" presId="urn:microsoft.com/office/officeart/2005/8/layout/vList5"/>
    <dgm:cxn modelId="{3951817D-19FA-4C94-B91C-20A93F8306E0}" srcId="{3E236C0E-CA28-4164-8626-6AD71D2FAF2A}" destId="{225D1153-B247-4E76-96F8-FD2B8E01BB3B}" srcOrd="0" destOrd="0" parTransId="{2CC5C681-2BA4-4635-9A03-64452AEB8986}" sibTransId="{8601BCF0-F2C4-445A-97A6-6C5276F3A68D}"/>
    <dgm:cxn modelId="{9D546589-62B2-402D-9187-816E13BC0ADB}" type="presOf" srcId="{8AF62308-50A6-4D42-8815-1170848063C0}" destId="{62C900BD-34DA-4242-B524-A9BC141D3C9A}" srcOrd="0" destOrd="0" presId="urn:microsoft.com/office/officeart/2005/8/layout/vList5"/>
    <dgm:cxn modelId="{088FA08B-D72A-4081-A6B2-BFDA700FF40D}" type="presOf" srcId="{7A638A9D-64F2-431E-88B9-8CDB03F4957E}" destId="{FA123E8B-2174-4ABB-B6F9-E14370CC7E07}" srcOrd="0" destOrd="1" presId="urn:microsoft.com/office/officeart/2005/8/layout/vList5"/>
    <dgm:cxn modelId="{E4ED52B2-59D3-4548-8723-296F9F9B7A0C}" type="presOf" srcId="{8001B9AF-CDE1-4421-8787-0B5ABA53FCC4}" destId="{588F965E-B9DE-490F-9324-E113FBF274D1}" srcOrd="0" destOrd="0" presId="urn:microsoft.com/office/officeart/2005/8/layout/vList5"/>
    <dgm:cxn modelId="{8DE025BA-8BBC-4CB8-9E20-D7E9B998B42D}" srcId="{4432C022-54B8-42C0-89AF-E71AA8810DD1}" destId="{DB955CCC-D262-4FB0-B929-CA5D3F6B4068}" srcOrd="0" destOrd="0" parTransId="{60F489A6-1702-49D5-B40B-9D98F9583FDB}" sibTransId="{21D2A61A-77DF-4323-80E0-D6B1D41EBAC4}"/>
    <dgm:cxn modelId="{FC73ADBB-EEC9-43DD-A880-B9E51035CF2B}" type="presOf" srcId="{49957A5F-3CD3-4C73-A3D1-371A7903C3A6}" destId="{F13716B3-20EE-4557-92BE-02BD988244C2}" srcOrd="0" destOrd="0" presId="urn:microsoft.com/office/officeart/2005/8/layout/vList5"/>
    <dgm:cxn modelId="{0605D1BE-C00C-4AA0-AF31-736334C97771}" type="presOf" srcId="{79F5FDC6-6D36-4C0A-A0E6-A939FFD3CD65}" destId="{986570E6-AE4F-419C-800E-E5051EE3E1D2}" srcOrd="0" destOrd="0" presId="urn:microsoft.com/office/officeart/2005/8/layout/vList5"/>
    <dgm:cxn modelId="{5E4752BF-288F-4174-A7B7-714A54FBD810}" srcId="{3E236C0E-CA28-4164-8626-6AD71D2FAF2A}" destId="{7A638A9D-64F2-431E-88B9-8CDB03F4957E}" srcOrd="1" destOrd="0" parTransId="{D5812875-4760-4C8F-953D-5B5E905107D0}" sibTransId="{71C1C2B4-424D-4A64-B901-9807070980F0}"/>
    <dgm:cxn modelId="{217FB5C6-A506-4A87-8183-41E4285D680B}" type="presOf" srcId="{DCBB21FD-853F-42E5-94E2-EBD62BFFDA77}" destId="{305B0871-7B45-4290-88DF-2EDCE97A0FE8}" srcOrd="0" destOrd="0" presId="urn:microsoft.com/office/officeart/2005/8/layout/vList5"/>
    <dgm:cxn modelId="{145D98D1-1E79-4060-BBD7-D1EF7A05D6F1}" type="presOf" srcId="{A87A8CFD-AAB0-499C-B6B3-DE0A221C0429}" destId="{BED83585-7746-45F8-B811-92F3CA5496DC}" srcOrd="0" destOrd="0" presId="urn:microsoft.com/office/officeart/2005/8/layout/vList5"/>
    <dgm:cxn modelId="{439243DA-1BD6-4F14-93BA-3DDC0B9B3633}" srcId="{49957A5F-3CD3-4C73-A3D1-371A7903C3A6}" destId="{FD784C52-15D5-4439-84E4-598164F54AEC}" srcOrd="0" destOrd="0" parTransId="{12EDE149-7C81-446D-883F-A866B94C96D1}" sibTransId="{75CBA25A-EBC4-47AC-A6EB-878B632CED1B}"/>
    <dgm:cxn modelId="{18F2D3DB-B3CE-478E-AFD1-53BDC7F63718}" type="presOf" srcId="{FD784C52-15D5-4439-84E4-598164F54AEC}" destId="{F50729AF-A2E8-4988-AFBB-B10F0E6A2AC7}" srcOrd="0" destOrd="0" presId="urn:microsoft.com/office/officeart/2005/8/layout/vList5"/>
    <dgm:cxn modelId="{561CE1DF-7E1F-423B-B406-E5CF13153A3B}" srcId="{8001B9AF-CDE1-4421-8787-0B5ABA53FCC4}" destId="{CDEA02FB-30EF-4519-B746-92F9203CE688}" srcOrd="1" destOrd="0" parTransId="{07624D4D-9234-4DEC-A695-EABA2C3775A5}" sibTransId="{195EBB80-2421-44B0-93F8-52D30289BF3B}"/>
    <dgm:cxn modelId="{C4323FE6-314F-4036-AAC2-2B186992FC95}" srcId="{8001B9AF-CDE1-4421-8787-0B5ABA53FCC4}" destId="{4432C022-54B8-42C0-89AF-E71AA8810DD1}" srcOrd="7" destOrd="0" parTransId="{048E4076-4196-4E15-9615-E3F2111885BD}" sibTransId="{9917BC3C-1220-42FF-9854-377BAA690DEF}"/>
    <dgm:cxn modelId="{6E4F68F0-8FB8-4596-87A0-9DBAB8FD1C05}" srcId="{8001B9AF-CDE1-4421-8787-0B5ABA53FCC4}" destId="{49957A5F-3CD3-4C73-A3D1-371A7903C3A6}" srcOrd="4" destOrd="0" parTransId="{3D619D71-2557-4F7E-B893-0BE37349D914}" sibTransId="{E2F514AA-3F54-4E68-A113-8C8C65730858}"/>
    <dgm:cxn modelId="{45A045F2-ED8B-4CE5-A3E5-3AB7F58E7520}" type="presOf" srcId="{CA6407DD-EFAD-4843-B596-3E0C046DFBEB}" destId="{DD64E41A-B014-4F17-9321-744490CC49CC}" srcOrd="0" destOrd="0" presId="urn:microsoft.com/office/officeart/2005/8/layout/vList5"/>
    <dgm:cxn modelId="{98959424-8D2D-474F-9D57-51BCF17417F8}" type="presParOf" srcId="{588F965E-B9DE-490F-9324-E113FBF274D1}" destId="{5C1CC0AF-73D6-4B97-A0F7-EA61C792B190}" srcOrd="0" destOrd="0" presId="urn:microsoft.com/office/officeart/2005/8/layout/vList5"/>
    <dgm:cxn modelId="{2EF91952-55D9-4925-B3C1-55B300B951D4}" type="presParOf" srcId="{5C1CC0AF-73D6-4B97-A0F7-EA61C792B190}" destId="{DD64E41A-B014-4F17-9321-744490CC49CC}" srcOrd="0" destOrd="0" presId="urn:microsoft.com/office/officeart/2005/8/layout/vList5"/>
    <dgm:cxn modelId="{03887706-379D-4027-8143-D9666F4CC2D5}" type="presParOf" srcId="{5C1CC0AF-73D6-4B97-A0F7-EA61C792B190}" destId="{1F81ADE2-C003-4CE0-AD03-1FCE0920B9C4}" srcOrd="1" destOrd="0" presId="urn:microsoft.com/office/officeart/2005/8/layout/vList5"/>
    <dgm:cxn modelId="{9696A04B-C2EF-4445-9428-F98EA929913B}" type="presParOf" srcId="{588F965E-B9DE-490F-9324-E113FBF274D1}" destId="{2D899150-A7DA-4DFD-A912-1E65014A4A20}" srcOrd="1" destOrd="0" presId="urn:microsoft.com/office/officeart/2005/8/layout/vList5"/>
    <dgm:cxn modelId="{F7C9592E-52EE-4BD4-8D98-15A0CD616B12}" type="presParOf" srcId="{588F965E-B9DE-490F-9324-E113FBF274D1}" destId="{2878327D-B763-48AB-892F-C5A859B9A6E6}" srcOrd="2" destOrd="0" presId="urn:microsoft.com/office/officeart/2005/8/layout/vList5"/>
    <dgm:cxn modelId="{CB45EE96-7D1F-4FC1-89EC-F179379F2D03}" type="presParOf" srcId="{2878327D-B763-48AB-892F-C5A859B9A6E6}" destId="{B27E4E8E-BE7E-4859-93AE-C99790AF3120}" srcOrd="0" destOrd="0" presId="urn:microsoft.com/office/officeart/2005/8/layout/vList5"/>
    <dgm:cxn modelId="{8AC677A0-B616-422D-92AB-FC8EE81AFF92}" type="presParOf" srcId="{2878327D-B763-48AB-892F-C5A859B9A6E6}" destId="{62C900BD-34DA-4242-B524-A9BC141D3C9A}" srcOrd="1" destOrd="0" presId="urn:microsoft.com/office/officeart/2005/8/layout/vList5"/>
    <dgm:cxn modelId="{E6BA61FF-3F95-4360-89EF-4F51004EEEA4}" type="presParOf" srcId="{588F965E-B9DE-490F-9324-E113FBF274D1}" destId="{664E7A7E-EE30-4E32-BFF2-0139E22DDD1C}" srcOrd="3" destOrd="0" presId="urn:microsoft.com/office/officeart/2005/8/layout/vList5"/>
    <dgm:cxn modelId="{173F6C29-2B94-493B-8D2E-EF160B5B6183}" type="presParOf" srcId="{588F965E-B9DE-490F-9324-E113FBF274D1}" destId="{1E4C7B46-96E0-4DF3-BC42-B1814CA5BD05}" srcOrd="4" destOrd="0" presId="urn:microsoft.com/office/officeart/2005/8/layout/vList5"/>
    <dgm:cxn modelId="{7A27E5FA-29AD-476D-AA48-478ECFBFDF01}" type="presParOf" srcId="{1E4C7B46-96E0-4DF3-BC42-B1814CA5BD05}" destId="{691FB358-6D9A-47C0-AB9B-32649D5652E5}" srcOrd="0" destOrd="0" presId="urn:microsoft.com/office/officeart/2005/8/layout/vList5"/>
    <dgm:cxn modelId="{3C2C09EE-0846-4CF6-91B3-2EBF4BD1AE97}" type="presParOf" srcId="{1E4C7B46-96E0-4DF3-BC42-B1814CA5BD05}" destId="{FA123E8B-2174-4ABB-B6F9-E14370CC7E07}" srcOrd="1" destOrd="0" presId="urn:microsoft.com/office/officeart/2005/8/layout/vList5"/>
    <dgm:cxn modelId="{50794B2C-F318-46D5-BA4F-7D42C575980A}" type="presParOf" srcId="{588F965E-B9DE-490F-9324-E113FBF274D1}" destId="{0AD89FBB-553C-4605-9033-7A03440ECE7C}" srcOrd="5" destOrd="0" presId="urn:microsoft.com/office/officeart/2005/8/layout/vList5"/>
    <dgm:cxn modelId="{4E206B26-8CEC-45AE-A9ED-9638F92CE144}" type="presParOf" srcId="{588F965E-B9DE-490F-9324-E113FBF274D1}" destId="{8ACCCDE3-B756-47A9-B019-718C1F0FE794}" srcOrd="6" destOrd="0" presId="urn:microsoft.com/office/officeart/2005/8/layout/vList5"/>
    <dgm:cxn modelId="{CE43B993-4A1F-4392-AA8A-4E30F9407ADC}" type="presParOf" srcId="{8ACCCDE3-B756-47A9-B019-718C1F0FE794}" destId="{B2963817-1E97-4376-AC06-D9CD09F6C597}" srcOrd="0" destOrd="0" presId="urn:microsoft.com/office/officeart/2005/8/layout/vList5"/>
    <dgm:cxn modelId="{4F66D7AD-53A9-4B98-AC34-013F8D51710D}" type="presParOf" srcId="{8ACCCDE3-B756-47A9-B019-718C1F0FE794}" destId="{986570E6-AE4F-419C-800E-E5051EE3E1D2}" srcOrd="1" destOrd="0" presId="urn:microsoft.com/office/officeart/2005/8/layout/vList5"/>
    <dgm:cxn modelId="{5AFBBBF5-CB0B-4D5A-BF1A-5DE6209E9A02}" type="presParOf" srcId="{588F965E-B9DE-490F-9324-E113FBF274D1}" destId="{C608B705-D1D1-422B-B2D9-879B0BFEC322}" srcOrd="7" destOrd="0" presId="urn:microsoft.com/office/officeart/2005/8/layout/vList5"/>
    <dgm:cxn modelId="{9279421B-4038-4E90-9DF6-146F5E9DC6BB}" type="presParOf" srcId="{588F965E-B9DE-490F-9324-E113FBF274D1}" destId="{D59D3074-5463-498A-943E-31CEE08D877A}" srcOrd="8" destOrd="0" presId="urn:microsoft.com/office/officeart/2005/8/layout/vList5"/>
    <dgm:cxn modelId="{EC6D22AE-49DB-4E90-B836-9E86B8122185}" type="presParOf" srcId="{D59D3074-5463-498A-943E-31CEE08D877A}" destId="{F13716B3-20EE-4557-92BE-02BD988244C2}" srcOrd="0" destOrd="0" presId="urn:microsoft.com/office/officeart/2005/8/layout/vList5"/>
    <dgm:cxn modelId="{6279937B-5E63-4F13-96D6-74A5AE38A19E}" type="presParOf" srcId="{D59D3074-5463-498A-943E-31CEE08D877A}" destId="{F50729AF-A2E8-4988-AFBB-B10F0E6A2AC7}" srcOrd="1" destOrd="0" presId="urn:microsoft.com/office/officeart/2005/8/layout/vList5"/>
    <dgm:cxn modelId="{4957BE73-8B3B-4DFC-9D80-A3FBAED84C17}" type="presParOf" srcId="{588F965E-B9DE-490F-9324-E113FBF274D1}" destId="{B5CBF0B1-6891-49BB-AE53-62B30BE24652}" srcOrd="9" destOrd="0" presId="urn:microsoft.com/office/officeart/2005/8/layout/vList5"/>
    <dgm:cxn modelId="{44C3F685-E6D6-4F55-85E5-3C86BDE27982}" type="presParOf" srcId="{588F965E-B9DE-490F-9324-E113FBF274D1}" destId="{203A341B-C5AD-4977-96F7-65DDD23B2C8B}" srcOrd="10" destOrd="0" presId="urn:microsoft.com/office/officeart/2005/8/layout/vList5"/>
    <dgm:cxn modelId="{2B5E4E6C-C2F2-412D-BEE3-5BDEEAE377A7}" type="presParOf" srcId="{203A341B-C5AD-4977-96F7-65DDD23B2C8B}" destId="{B8169308-07CB-4A12-8E3D-6C27E2C210C7}" srcOrd="0" destOrd="0" presId="urn:microsoft.com/office/officeart/2005/8/layout/vList5"/>
    <dgm:cxn modelId="{5FEB7629-4FDB-4595-859D-8489F0AEEA54}" type="presParOf" srcId="{203A341B-C5AD-4977-96F7-65DDD23B2C8B}" destId="{7D2AAF44-4A9F-496A-A3A5-A720EDA4DB70}" srcOrd="1" destOrd="0" presId="urn:microsoft.com/office/officeart/2005/8/layout/vList5"/>
    <dgm:cxn modelId="{30422EE7-A1F5-4A8A-A0C1-6E8C8D70E301}" type="presParOf" srcId="{588F965E-B9DE-490F-9324-E113FBF274D1}" destId="{6F1B62AF-40EA-47CA-A239-3EF62B304E9B}" srcOrd="11" destOrd="0" presId="urn:microsoft.com/office/officeart/2005/8/layout/vList5"/>
    <dgm:cxn modelId="{1F518F82-78F3-4FB8-BB19-4E3A8411C827}" type="presParOf" srcId="{588F965E-B9DE-490F-9324-E113FBF274D1}" destId="{755E08CB-522F-4859-9D80-67BF038CE314}" srcOrd="12" destOrd="0" presId="urn:microsoft.com/office/officeart/2005/8/layout/vList5"/>
    <dgm:cxn modelId="{BC334C79-DA47-4BBC-BADB-A2B1B0160B83}" type="presParOf" srcId="{755E08CB-522F-4859-9D80-67BF038CE314}" destId="{305B0871-7B45-4290-88DF-2EDCE97A0FE8}" srcOrd="0" destOrd="0" presId="urn:microsoft.com/office/officeart/2005/8/layout/vList5"/>
    <dgm:cxn modelId="{F3BA3773-1E07-4294-960B-AEA6683328DF}" type="presParOf" srcId="{755E08CB-522F-4859-9D80-67BF038CE314}" destId="{BED83585-7746-45F8-B811-92F3CA5496DC}" srcOrd="1" destOrd="0" presId="urn:microsoft.com/office/officeart/2005/8/layout/vList5"/>
    <dgm:cxn modelId="{4B8BCB4E-80DE-440B-BFE7-29A63862F35C}" type="presParOf" srcId="{588F965E-B9DE-490F-9324-E113FBF274D1}" destId="{D01048D7-5E11-464F-8629-84E9D12E3EF7}" srcOrd="13" destOrd="0" presId="urn:microsoft.com/office/officeart/2005/8/layout/vList5"/>
    <dgm:cxn modelId="{886EF7D6-8C3D-4549-A6A5-A147D7BD7633}" type="presParOf" srcId="{588F965E-B9DE-490F-9324-E113FBF274D1}" destId="{3F180F7B-4A33-4E55-BBBE-C131BD6E12FE}" srcOrd="14" destOrd="0" presId="urn:microsoft.com/office/officeart/2005/8/layout/vList5"/>
    <dgm:cxn modelId="{9EB2D314-AFF6-4192-B322-8834F43D2187}" type="presParOf" srcId="{3F180F7B-4A33-4E55-BBBE-C131BD6E12FE}" destId="{B9BEBA7F-42D0-4CFB-B9BC-C8EE2102A203}" srcOrd="0" destOrd="0" presId="urn:microsoft.com/office/officeart/2005/8/layout/vList5"/>
    <dgm:cxn modelId="{0DA5EB37-9AD6-47CB-9F7D-6BDAAE942E1A}" type="presParOf" srcId="{3F180F7B-4A33-4E55-BBBE-C131BD6E12FE}" destId="{6D666509-4E2C-421E-A85A-47D2531327DF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001B9AF-CDE1-4421-8787-0B5ABA53FCC4}" type="doc">
      <dgm:prSet loTypeId="urn:microsoft.com/office/officeart/2005/8/layout/vList5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da-DK"/>
        </a:p>
      </dgm:t>
    </dgm:pt>
    <dgm:pt modelId="{CA6407DD-EFAD-4843-B596-3E0C046DFBEB}">
      <dgm:prSet phldrT="[Tekst]" custT="1"/>
      <dgm:spPr/>
      <dgm:t>
        <a:bodyPr/>
        <a:lstStyle/>
        <a:p>
          <a:r>
            <a:rPr lang="da-DK" sz="900" b="0" dirty="0"/>
            <a:t>Jeg benytter min telefon i Danmark til data</a:t>
          </a:r>
        </a:p>
      </dgm:t>
    </dgm:pt>
    <dgm:pt modelId="{70D10986-FC17-4915-9EAA-1D5AC45FBC11}" type="parTrans" cxnId="{FF33FD62-F11A-4117-8B4E-C41521F78119}">
      <dgm:prSet/>
      <dgm:spPr/>
      <dgm:t>
        <a:bodyPr/>
        <a:lstStyle/>
        <a:p>
          <a:endParaRPr lang="da-DK" sz="900"/>
        </a:p>
      </dgm:t>
    </dgm:pt>
    <dgm:pt modelId="{F117DDC3-CEC0-4ADF-9D06-F5FD2FFA8B29}" type="sibTrans" cxnId="{FF33FD62-F11A-4117-8B4E-C41521F78119}">
      <dgm:prSet/>
      <dgm:spPr/>
      <dgm:t>
        <a:bodyPr/>
        <a:lstStyle/>
        <a:p>
          <a:endParaRPr lang="da-DK" sz="900"/>
        </a:p>
      </dgm:t>
    </dgm:pt>
    <dgm:pt modelId="{622BEC60-5717-4F87-B8FF-4F38CDD2DA8E}">
      <dgm:prSet phldrT="[Tekst]" custT="1"/>
      <dgm:spPr/>
      <dgm:t>
        <a:bodyPr/>
        <a:lstStyle/>
        <a:p>
          <a:r>
            <a:rPr lang="da-DK" sz="900" b="0" dirty="0"/>
            <a:t>Du kan bruge hele din pakke uden beregning. Når du har opbrugt din pakke, vil der ske speed drop.</a:t>
          </a:r>
          <a:endParaRPr lang="da-DK" sz="900" b="1" dirty="0"/>
        </a:p>
      </dgm:t>
    </dgm:pt>
    <dgm:pt modelId="{BE74CB8C-CB73-4BB3-92CD-4E846D083CBF}" type="parTrans" cxnId="{0198F762-6934-4B42-9B0E-23A31BC7155F}">
      <dgm:prSet/>
      <dgm:spPr/>
      <dgm:t>
        <a:bodyPr/>
        <a:lstStyle/>
        <a:p>
          <a:endParaRPr lang="da-DK" sz="900"/>
        </a:p>
      </dgm:t>
    </dgm:pt>
    <dgm:pt modelId="{D308C0AE-4C1A-4DF9-B5F6-CDC7BFC41620}" type="sibTrans" cxnId="{0198F762-6934-4B42-9B0E-23A31BC7155F}">
      <dgm:prSet/>
      <dgm:spPr/>
      <dgm:t>
        <a:bodyPr/>
        <a:lstStyle/>
        <a:p>
          <a:endParaRPr lang="da-DK" sz="900"/>
        </a:p>
      </dgm:t>
    </dgm:pt>
    <dgm:pt modelId="{8AF62308-50A6-4D42-8815-1170848063C0}">
      <dgm:prSet phldrT="[Tekst]" custT="1"/>
      <dgm:spPr/>
      <dgm:t>
        <a:bodyPr/>
        <a:lstStyle/>
        <a:p>
          <a:r>
            <a:rPr lang="da-DK" sz="900" dirty="0"/>
            <a:t>Du kan bruge data op til din Fair </a:t>
          </a:r>
          <a:r>
            <a:rPr lang="da-DK" sz="900" dirty="0" err="1"/>
            <a:t>Use</a:t>
          </a:r>
          <a:r>
            <a:rPr lang="da-DK" sz="900" dirty="0"/>
            <a:t> Limit gratis. Det du bruger derudover, takseres til en takst fastsat af EU (pt. DKK 45 pr. GB)</a:t>
          </a:r>
          <a:endParaRPr lang="da-DK" sz="900" b="1" dirty="0"/>
        </a:p>
      </dgm:t>
    </dgm:pt>
    <dgm:pt modelId="{A64ED254-0AFC-48CB-AA53-6096EA7A9D57}" type="parTrans" cxnId="{22B74F01-6ED7-4C63-A66C-984E85F64859}">
      <dgm:prSet/>
      <dgm:spPr/>
      <dgm:t>
        <a:bodyPr/>
        <a:lstStyle/>
        <a:p>
          <a:endParaRPr lang="da-DK" sz="900"/>
        </a:p>
      </dgm:t>
    </dgm:pt>
    <dgm:pt modelId="{DFF23AB8-B9E7-4313-A185-C9667002A6CB}" type="sibTrans" cxnId="{22B74F01-6ED7-4C63-A66C-984E85F64859}">
      <dgm:prSet/>
      <dgm:spPr/>
      <dgm:t>
        <a:bodyPr/>
        <a:lstStyle/>
        <a:p>
          <a:endParaRPr lang="da-DK" sz="900"/>
        </a:p>
      </dgm:t>
    </dgm:pt>
    <dgm:pt modelId="{3E236C0E-CA28-4164-8626-6AD71D2FAF2A}">
      <dgm:prSet phldrT="[Tekst]" custT="1"/>
      <dgm:spPr/>
      <dgm:t>
        <a:bodyPr/>
        <a:lstStyle/>
        <a:p>
          <a:r>
            <a:rPr lang="da-DK" sz="900" b="0" dirty="0"/>
            <a:t>Jeg benytter min telefon i et ikke </a:t>
          </a:r>
        </a:p>
        <a:p>
          <a:r>
            <a:rPr lang="da-DK" sz="900" b="0" dirty="0"/>
            <a:t>EU land til data</a:t>
          </a:r>
        </a:p>
      </dgm:t>
    </dgm:pt>
    <dgm:pt modelId="{8CB37897-3C1B-4114-8EE2-EE17D7E37C2E}" type="parTrans" cxnId="{D4F09C55-CBE0-4DB1-BD40-72D0E36052FF}">
      <dgm:prSet/>
      <dgm:spPr/>
      <dgm:t>
        <a:bodyPr/>
        <a:lstStyle/>
        <a:p>
          <a:endParaRPr lang="da-DK" sz="900"/>
        </a:p>
      </dgm:t>
    </dgm:pt>
    <dgm:pt modelId="{3F54593A-7309-4A52-91E9-63818B1C0BCE}" type="sibTrans" cxnId="{D4F09C55-CBE0-4DB1-BD40-72D0E36052FF}">
      <dgm:prSet/>
      <dgm:spPr/>
      <dgm:t>
        <a:bodyPr/>
        <a:lstStyle/>
        <a:p>
          <a:endParaRPr lang="da-DK" sz="900"/>
        </a:p>
      </dgm:t>
    </dgm:pt>
    <dgm:pt modelId="{CDEA02FB-30EF-4519-B746-92F9203CE688}">
      <dgm:prSet phldrT="[Tekst]" custT="1"/>
      <dgm:spPr/>
      <dgm:t>
        <a:bodyPr/>
        <a:lstStyle/>
        <a:p>
          <a:r>
            <a:rPr lang="da-DK" sz="900" b="0" dirty="0"/>
            <a:t>Jeg benytter min telefon i et EU land til data</a:t>
          </a:r>
        </a:p>
      </dgm:t>
    </dgm:pt>
    <dgm:pt modelId="{195EBB80-2421-44B0-93F8-52D30289BF3B}" type="sibTrans" cxnId="{561CE1DF-7E1F-423B-B406-E5CF13153A3B}">
      <dgm:prSet/>
      <dgm:spPr/>
      <dgm:t>
        <a:bodyPr/>
        <a:lstStyle/>
        <a:p>
          <a:endParaRPr lang="da-DK" sz="900"/>
        </a:p>
      </dgm:t>
    </dgm:pt>
    <dgm:pt modelId="{07624D4D-9234-4DEC-A695-EABA2C3775A5}" type="parTrans" cxnId="{561CE1DF-7E1F-423B-B406-E5CF13153A3B}">
      <dgm:prSet/>
      <dgm:spPr/>
      <dgm:t>
        <a:bodyPr/>
        <a:lstStyle/>
        <a:p>
          <a:endParaRPr lang="da-DK" sz="900"/>
        </a:p>
      </dgm:t>
    </dgm:pt>
    <dgm:pt modelId="{431A4D4B-63D1-472D-B3B5-349A65424483}">
      <dgm:prSet custT="1"/>
      <dgm:spPr/>
      <dgm:t>
        <a:bodyPr/>
        <a:lstStyle/>
        <a:p>
          <a:r>
            <a:rPr lang="da-DK" sz="900" dirty="0"/>
            <a:t>Men totalt kan du kun bruge det antal GB, der er i din datapakke. Dvs. har du opbrugt hele din datapakke, før du tog ud og rejse, så har du ikke noget data at tage med til udlandet.</a:t>
          </a:r>
        </a:p>
      </dgm:t>
    </dgm:pt>
    <dgm:pt modelId="{356188A2-0B99-415D-9871-75AC4A2C1BFD}" type="parTrans" cxnId="{00361E11-50B6-425B-9609-926AA91C54E6}">
      <dgm:prSet/>
      <dgm:spPr/>
      <dgm:t>
        <a:bodyPr/>
        <a:lstStyle/>
        <a:p>
          <a:endParaRPr lang="da-DK"/>
        </a:p>
      </dgm:t>
    </dgm:pt>
    <dgm:pt modelId="{ACC4427E-5971-4945-AEDF-9F161EB31A73}" type="sibTrans" cxnId="{00361E11-50B6-425B-9609-926AA91C54E6}">
      <dgm:prSet/>
      <dgm:spPr/>
      <dgm:t>
        <a:bodyPr/>
        <a:lstStyle/>
        <a:p>
          <a:endParaRPr lang="da-DK"/>
        </a:p>
      </dgm:t>
    </dgm:pt>
    <dgm:pt modelId="{225D1153-B247-4E76-96F8-FD2B8E01BB3B}">
      <dgm:prSet phldrT="[Tekst]" custT="1"/>
      <dgm:spPr/>
      <dgm:t>
        <a:bodyPr/>
        <a:lstStyle/>
        <a:p>
          <a:endParaRPr lang="da-DK" sz="900" b="1" dirty="0"/>
        </a:p>
      </dgm:t>
    </dgm:pt>
    <dgm:pt modelId="{8601BCF0-F2C4-445A-97A6-6C5276F3A68D}" type="sibTrans" cxnId="{3951817D-19FA-4C94-B91C-20A93F8306E0}">
      <dgm:prSet/>
      <dgm:spPr/>
      <dgm:t>
        <a:bodyPr/>
        <a:lstStyle/>
        <a:p>
          <a:endParaRPr lang="da-DK" sz="900"/>
        </a:p>
      </dgm:t>
    </dgm:pt>
    <dgm:pt modelId="{2CC5C681-2BA4-4635-9A03-64452AEB8986}" type="parTrans" cxnId="{3951817D-19FA-4C94-B91C-20A93F8306E0}">
      <dgm:prSet/>
      <dgm:spPr/>
      <dgm:t>
        <a:bodyPr/>
        <a:lstStyle/>
        <a:p>
          <a:endParaRPr lang="da-DK" sz="900"/>
        </a:p>
      </dgm:t>
    </dgm:pt>
    <dgm:pt modelId="{7A638A9D-64F2-431E-88B9-8CDB03F4957E}">
      <dgm:prSet phldrT="[Tekst]" custT="1"/>
      <dgm:spPr/>
      <dgm:t>
        <a:bodyPr/>
        <a:lstStyle/>
        <a:p>
          <a:r>
            <a:rPr lang="da-DK" sz="900" b="0" dirty="0"/>
            <a:t>Det data du bruger takseres. Priserne er angivet i SKI prislisten under Mobilt Bredbånd.</a:t>
          </a:r>
          <a:br>
            <a:rPr lang="da-DK" sz="900" b="0" dirty="0"/>
          </a:br>
          <a:endParaRPr lang="da-DK" sz="900" b="1" dirty="0"/>
        </a:p>
      </dgm:t>
    </dgm:pt>
    <dgm:pt modelId="{71C1C2B4-424D-4A64-B901-9807070980F0}" type="sibTrans" cxnId="{5E4752BF-288F-4174-A7B7-714A54FBD810}">
      <dgm:prSet/>
      <dgm:spPr/>
      <dgm:t>
        <a:bodyPr/>
        <a:lstStyle/>
        <a:p>
          <a:endParaRPr lang="da-DK" sz="900"/>
        </a:p>
      </dgm:t>
    </dgm:pt>
    <dgm:pt modelId="{D5812875-4760-4C8F-953D-5B5E905107D0}" type="parTrans" cxnId="{5E4752BF-288F-4174-A7B7-714A54FBD810}">
      <dgm:prSet/>
      <dgm:spPr/>
      <dgm:t>
        <a:bodyPr/>
        <a:lstStyle/>
        <a:p>
          <a:endParaRPr lang="da-DK" sz="900"/>
        </a:p>
      </dgm:t>
    </dgm:pt>
    <dgm:pt modelId="{588F965E-B9DE-490F-9324-E113FBF274D1}" type="pres">
      <dgm:prSet presAssocID="{8001B9AF-CDE1-4421-8787-0B5ABA53FCC4}" presName="Name0" presStyleCnt="0">
        <dgm:presLayoutVars>
          <dgm:dir/>
          <dgm:animLvl val="lvl"/>
          <dgm:resizeHandles val="exact"/>
        </dgm:presLayoutVars>
      </dgm:prSet>
      <dgm:spPr/>
    </dgm:pt>
    <dgm:pt modelId="{5C1CC0AF-73D6-4B97-A0F7-EA61C792B190}" type="pres">
      <dgm:prSet presAssocID="{CA6407DD-EFAD-4843-B596-3E0C046DFBEB}" presName="linNode" presStyleCnt="0"/>
      <dgm:spPr/>
    </dgm:pt>
    <dgm:pt modelId="{DD64E41A-B014-4F17-9321-744490CC49CC}" type="pres">
      <dgm:prSet presAssocID="{CA6407DD-EFAD-4843-B596-3E0C046DFBEB}" presName="parentText" presStyleLbl="node1" presStyleIdx="0" presStyleCnt="3" custScaleX="70308" custScaleY="28563" custLinFactNeighborX="513" custLinFactNeighborY="-2124">
        <dgm:presLayoutVars>
          <dgm:chMax val="1"/>
          <dgm:bulletEnabled val="1"/>
        </dgm:presLayoutVars>
      </dgm:prSet>
      <dgm:spPr/>
    </dgm:pt>
    <dgm:pt modelId="{1F81ADE2-C003-4CE0-AD03-1FCE0920B9C4}" type="pres">
      <dgm:prSet presAssocID="{CA6407DD-EFAD-4843-B596-3E0C046DFBEB}" presName="descendantText" presStyleLbl="alignAccFollowNode1" presStyleIdx="0" presStyleCnt="3" custScaleY="28563" custLinFactNeighborX="749" custLinFactNeighborY="-2671">
        <dgm:presLayoutVars>
          <dgm:bulletEnabled val="1"/>
        </dgm:presLayoutVars>
      </dgm:prSet>
      <dgm:spPr/>
    </dgm:pt>
    <dgm:pt modelId="{2D899150-A7DA-4DFD-A912-1E65014A4A20}" type="pres">
      <dgm:prSet presAssocID="{F117DDC3-CEC0-4ADF-9D06-F5FD2FFA8B29}" presName="sp" presStyleCnt="0"/>
      <dgm:spPr/>
    </dgm:pt>
    <dgm:pt modelId="{2878327D-B763-48AB-892F-C5A859B9A6E6}" type="pres">
      <dgm:prSet presAssocID="{CDEA02FB-30EF-4519-B746-92F9203CE688}" presName="linNode" presStyleCnt="0"/>
      <dgm:spPr/>
    </dgm:pt>
    <dgm:pt modelId="{B27E4E8E-BE7E-4859-93AE-C99790AF3120}" type="pres">
      <dgm:prSet presAssocID="{CDEA02FB-30EF-4519-B746-92F9203CE688}" presName="parentText" presStyleLbl="node1" presStyleIdx="1" presStyleCnt="3" custScaleX="70308" custScaleY="25561" custLinFactNeighborY="-2124">
        <dgm:presLayoutVars>
          <dgm:chMax val="1"/>
          <dgm:bulletEnabled val="1"/>
        </dgm:presLayoutVars>
      </dgm:prSet>
      <dgm:spPr/>
    </dgm:pt>
    <dgm:pt modelId="{62C900BD-34DA-4242-B524-A9BC141D3C9A}" type="pres">
      <dgm:prSet presAssocID="{CDEA02FB-30EF-4519-B746-92F9203CE688}" presName="descendantText" presStyleLbl="alignAccFollowNode1" presStyleIdx="1" presStyleCnt="3" custScaleY="28462" custLinFactNeighborX="749" custLinFactNeighborY="-3527">
        <dgm:presLayoutVars>
          <dgm:bulletEnabled val="1"/>
        </dgm:presLayoutVars>
      </dgm:prSet>
      <dgm:spPr/>
    </dgm:pt>
    <dgm:pt modelId="{664E7A7E-EE30-4E32-BFF2-0139E22DDD1C}" type="pres">
      <dgm:prSet presAssocID="{195EBB80-2421-44B0-93F8-52D30289BF3B}" presName="sp" presStyleCnt="0"/>
      <dgm:spPr/>
    </dgm:pt>
    <dgm:pt modelId="{1E4C7B46-96E0-4DF3-BC42-B1814CA5BD05}" type="pres">
      <dgm:prSet presAssocID="{3E236C0E-CA28-4164-8626-6AD71D2FAF2A}" presName="linNode" presStyleCnt="0"/>
      <dgm:spPr/>
    </dgm:pt>
    <dgm:pt modelId="{691FB358-6D9A-47C0-AB9B-32649D5652E5}" type="pres">
      <dgm:prSet presAssocID="{3E236C0E-CA28-4164-8626-6AD71D2FAF2A}" presName="parentText" presStyleLbl="node1" presStyleIdx="2" presStyleCnt="3" custScaleX="70308" custScaleY="26667" custLinFactNeighborY="-2124">
        <dgm:presLayoutVars>
          <dgm:chMax val="1"/>
          <dgm:bulletEnabled val="1"/>
        </dgm:presLayoutVars>
      </dgm:prSet>
      <dgm:spPr/>
    </dgm:pt>
    <dgm:pt modelId="{FA123E8B-2174-4ABB-B6F9-E14370CC7E07}" type="pres">
      <dgm:prSet presAssocID="{3E236C0E-CA28-4164-8626-6AD71D2FAF2A}" presName="descendantText" presStyleLbl="alignAccFollowNode1" presStyleIdx="2" presStyleCnt="3" custScaleY="30019" custLinFactNeighborY="-2655">
        <dgm:presLayoutVars>
          <dgm:bulletEnabled val="1"/>
        </dgm:presLayoutVars>
      </dgm:prSet>
      <dgm:spPr/>
    </dgm:pt>
  </dgm:ptLst>
  <dgm:cxnLst>
    <dgm:cxn modelId="{22B74F01-6ED7-4C63-A66C-984E85F64859}" srcId="{CDEA02FB-30EF-4519-B746-92F9203CE688}" destId="{8AF62308-50A6-4D42-8815-1170848063C0}" srcOrd="0" destOrd="0" parTransId="{A64ED254-0AFC-48CB-AA53-6096EA7A9D57}" sibTransId="{DFF23AB8-B9E7-4313-A185-C9667002A6CB}"/>
    <dgm:cxn modelId="{8CC0870E-023E-4370-980A-7DD67BFEDADC}" type="presOf" srcId="{3E236C0E-CA28-4164-8626-6AD71D2FAF2A}" destId="{691FB358-6D9A-47C0-AB9B-32649D5652E5}" srcOrd="0" destOrd="0" presId="urn:microsoft.com/office/officeart/2005/8/layout/vList5"/>
    <dgm:cxn modelId="{00361E11-50B6-425B-9609-926AA91C54E6}" srcId="{CDEA02FB-30EF-4519-B746-92F9203CE688}" destId="{431A4D4B-63D1-472D-B3B5-349A65424483}" srcOrd="1" destOrd="0" parTransId="{356188A2-0B99-415D-9871-75AC4A2C1BFD}" sibTransId="{ACC4427E-5971-4945-AEDF-9F161EB31A73}"/>
    <dgm:cxn modelId="{FE250F12-8971-449C-BBC9-ED4177CEED50}" type="presOf" srcId="{225D1153-B247-4E76-96F8-FD2B8E01BB3B}" destId="{FA123E8B-2174-4ABB-B6F9-E14370CC7E07}" srcOrd="0" destOrd="0" presId="urn:microsoft.com/office/officeart/2005/8/layout/vList5"/>
    <dgm:cxn modelId="{E0D0E514-85E0-4819-B543-730ED6313110}" type="presOf" srcId="{622BEC60-5717-4F87-B8FF-4F38CDD2DA8E}" destId="{1F81ADE2-C003-4CE0-AD03-1FCE0920B9C4}" srcOrd="0" destOrd="0" presId="urn:microsoft.com/office/officeart/2005/8/layout/vList5"/>
    <dgm:cxn modelId="{70308B31-8A93-49E6-A05A-F4640C0663E7}" type="presOf" srcId="{CDEA02FB-30EF-4519-B746-92F9203CE688}" destId="{B27E4E8E-BE7E-4859-93AE-C99790AF3120}" srcOrd="0" destOrd="0" presId="urn:microsoft.com/office/officeart/2005/8/layout/vList5"/>
    <dgm:cxn modelId="{0198F762-6934-4B42-9B0E-23A31BC7155F}" srcId="{CA6407DD-EFAD-4843-B596-3E0C046DFBEB}" destId="{622BEC60-5717-4F87-B8FF-4F38CDD2DA8E}" srcOrd="0" destOrd="0" parTransId="{BE74CB8C-CB73-4BB3-92CD-4E846D083CBF}" sibTransId="{D308C0AE-4C1A-4DF9-B5F6-CDC7BFC41620}"/>
    <dgm:cxn modelId="{FF33FD62-F11A-4117-8B4E-C41521F78119}" srcId="{8001B9AF-CDE1-4421-8787-0B5ABA53FCC4}" destId="{CA6407DD-EFAD-4843-B596-3E0C046DFBEB}" srcOrd="0" destOrd="0" parTransId="{70D10986-FC17-4915-9EAA-1D5AC45FBC11}" sibTransId="{F117DDC3-CEC0-4ADF-9D06-F5FD2FFA8B29}"/>
    <dgm:cxn modelId="{D4F09C55-CBE0-4DB1-BD40-72D0E36052FF}" srcId="{8001B9AF-CDE1-4421-8787-0B5ABA53FCC4}" destId="{3E236C0E-CA28-4164-8626-6AD71D2FAF2A}" srcOrd="2" destOrd="0" parTransId="{8CB37897-3C1B-4114-8EE2-EE17D7E37C2E}" sibTransId="{3F54593A-7309-4A52-91E9-63818B1C0BCE}"/>
    <dgm:cxn modelId="{3951817D-19FA-4C94-B91C-20A93F8306E0}" srcId="{3E236C0E-CA28-4164-8626-6AD71D2FAF2A}" destId="{225D1153-B247-4E76-96F8-FD2B8E01BB3B}" srcOrd="0" destOrd="0" parTransId="{2CC5C681-2BA4-4635-9A03-64452AEB8986}" sibTransId="{8601BCF0-F2C4-445A-97A6-6C5276F3A68D}"/>
    <dgm:cxn modelId="{9D546589-62B2-402D-9187-816E13BC0ADB}" type="presOf" srcId="{8AF62308-50A6-4D42-8815-1170848063C0}" destId="{62C900BD-34DA-4242-B524-A9BC141D3C9A}" srcOrd="0" destOrd="0" presId="urn:microsoft.com/office/officeart/2005/8/layout/vList5"/>
    <dgm:cxn modelId="{088FA08B-D72A-4081-A6B2-BFDA700FF40D}" type="presOf" srcId="{7A638A9D-64F2-431E-88B9-8CDB03F4957E}" destId="{FA123E8B-2174-4ABB-B6F9-E14370CC7E07}" srcOrd="0" destOrd="1" presId="urn:microsoft.com/office/officeart/2005/8/layout/vList5"/>
    <dgm:cxn modelId="{E4ED52B2-59D3-4548-8723-296F9F9B7A0C}" type="presOf" srcId="{8001B9AF-CDE1-4421-8787-0B5ABA53FCC4}" destId="{588F965E-B9DE-490F-9324-E113FBF274D1}" srcOrd="0" destOrd="0" presId="urn:microsoft.com/office/officeart/2005/8/layout/vList5"/>
    <dgm:cxn modelId="{60733DBE-074C-4E2C-8FBB-7C932FCEFF0F}" type="presOf" srcId="{431A4D4B-63D1-472D-B3B5-349A65424483}" destId="{62C900BD-34DA-4242-B524-A9BC141D3C9A}" srcOrd="0" destOrd="1" presId="urn:microsoft.com/office/officeart/2005/8/layout/vList5"/>
    <dgm:cxn modelId="{5E4752BF-288F-4174-A7B7-714A54FBD810}" srcId="{3E236C0E-CA28-4164-8626-6AD71D2FAF2A}" destId="{7A638A9D-64F2-431E-88B9-8CDB03F4957E}" srcOrd="1" destOrd="0" parTransId="{D5812875-4760-4C8F-953D-5B5E905107D0}" sibTransId="{71C1C2B4-424D-4A64-B901-9807070980F0}"/>
    <dgm:cxn modelId="{561CE1DF-7E1F-423B-B406-E5CF13153A3B}" srcId="{8001B9AF-CDE1-4421-8787-0B5ABA53FCC4}" destId="{CDEA02FB-30EF-4519-B746-92F9203CE688}" srcOrd="1" destOrd="0" parTransId="{07624D4D-9234-4DEC-A695-EABA2C3775A5}" sibTransId="{195EBB80-2421-44B0-93F8-52D30289BF3B}"/>
    <dgm:cxn modelId="{45A045F2-ED8B-4CE5-A3E5-3AB7F58E7520}" type="presOf" srcId="{CA6407DD-EFAD-4843-B596-3E0C046DFBEB}" destId="{DD64E41A-B014-4F17-9321-744490CC49CC}" srcOrd="0" destOrd="0" presId="urn:microsoft.com/office/officeart/2005/8/layout/vList5"/>
    <dgm:cxn modelId="{98959424-8D2D-474F-9D57-51BCF17417F8}" type="presParOf" srcId="{588F965E-B9DE-490F-9324-E113FBF274D1}" destId="{5C1CC0AF-73D6-4B97-A0F7-EA61C792B190}" srcOrd="0" destOrd="0" presId="urn:microsoft.com/office/officeart/2005/8/layout/vList5"/>
    <dgm:cxn modelId="{2EF91952-55D9-4925-B3C1-55B300B951D4}" type="presParOf" srcId="{5C1CC0AF-73D6-4B97-A0F7-EA61C792B190}" destId="{DD64E41A-B014-4F17-9321-744490CC49CC}" srcOrd="0" destOrd="0" presId="urn:microsoft.com/office/officeart/2005/8/layout/vList5"/>
    <dgm:cxn modelId="{03887706-379D-4027-8143-D9666F4CC2D5}" type="presParOf" srcId="{5C1CC0AF-73D6-4B97-A0F7-EA61C792B190}" destId="{1F81ADE2-C003-4CE0-AD03-1FCE0920B9C4}" srcOrd="1" destOrd="0" presId="urn:microsoft.com/office/officeart/2005/8/layout/vList5"/>
    <dgm:cxn modelId="{9696A04B-C2EF-4445-9428-F98EA929913B}" type="presParOf" srcId="{588F965E-B9DE-490F-9324-E113FBF274D1}" destId="{2D899150-A7DA-4DFD-A912-1E65014A4A20}" srcOrd="1" destOrd="0" presId="urn:microsoft.com/office/officeart/2005/8/layout/vList5"/>
    <dgm:cxn modelId="{F7C9592E-52EE-4BD4-8D98-15A0CD616B12}" type="presParOf" srcId="{588F965E-B9DE-490F-9324-E113FBF274D1}" destId="{2878327D-B763-48AB-892F-C5A859B9A6E6}" srcOrd="2" destOrd="0" presId="urn:microsoft.com/office/officeart/2005/8/layout/vList5"/>
    <dgm:cxn modelId="{CB45EE96-7D1F-4FC1-89EC-F179379F2D03}" type="presParOf" srcId="{2878327D-B763-48AB-892F-C5A859B9A6E6}" destId="{B27E4E8E-BE7E-4859-93AE-C99790AF3120}" srcOrd="0" destOrd="0" presId="urn:microsoft.com/office/officeart/2005/8/layout/vList5"/>
    <dgm:cxn modelId="{8AC677A0-B616-422D-92AB-FC8EE81AFF92}" type="presParOf" srcId="{2878327D-B763-48AB-892F-C5A859B9A6E6}" destId="{62C900BD-34DA-4242-B524-A9BC141D3C9A}" srcOrd="1" destOrd="0" presId="urn:microsoft.com/office/officeart/2005/8/layout/vList5"/>
    <dgm:cxn modelId="{E6BA61FF-3F95-4360-89EF-4F51004EEEA4}" type="presParOf" srcId="{588F965E-B9DE-490F-9324-E113FBF274D1}" destId="{664E7A7E-EE30-4E32-BFF2-0139E22DDD1C}" srcOrd="3" destOrd="0" presId="urn:microsoft.com/office/officeart/2005/8/layout/vList5"/>
    <dgm:cxn modelId="{173F6C29-2B94-493B-8D2E-EF160B5B6183}" type="presParOf" srcId="{588F965E-B9DE-490F-9324-E113FBF274D1}" destId="{1E4C7B46-96E0-4DF3-BC42-B1814CA5BD05}" srcOrd="4" destOrd="0" presId="urn:microsoft.com/office/officeart/2005/8/layout/vList5"/>
    <dgm:cxn modelId="{7A27E5FA-29AD-476D-AA48-478ECFBFDF01}" type="presParOf" srcId="{1E4C7B46-96E0-4DF3-BC42-B1814CA5BD05}" destId="{691FB358-6D9A-47C0-AB9B-32649D5652E5}" srcOrd="0" destOrd="0" presId="urn:microsoft.com/office/officeart/2005/8/layout/vList5"/>
    <dgm:cxn modelId="{3C2C09EE-0846-4CF6-91B3-2EBF4BD1AE97}" type="presParOf" srcId="{1E4C7B46-96E0-4DF3-BC42-B1814CA5BD05}" destId="{FA123E8B-2174-4ABB-B6F9-E14370CC7E07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F81ADE2-C003-4CE0-AD03-1FCE0920B9C4}">
      <dsp:nvSpPr>
        <dsp:cNvPr id="0" name=""/>
        <dsp:cNvSpPr/>
      </dsp:nvSpPr>
      <dsp:spPr>
        <a:xfrm rot="5400000">
          <a:off x="6440498" y="-3153470"/>
          <a:ext cx="359963" cy="6757282"/>
        </a:xfrm>
        <a:prstGeom prst="round2Same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a-DK" sz="900" b="0" kern="1200" dirty="0"/>
            <a:t>Opkald fra Danmark til EU er ikke inkluderet i dit SKI 50.48 </a:t>
          </a:r>
          <a:r>
            <a:rPr lang="da-DK" sz="900" b="0" kern="1200" dirty="0" err="1"/>
            <a:t>flatrate</a:t>
          </a:r>
          <a:r>
            <a:rPr lang="da-DK" sz="900" b="0" kern="1200" dirty="0"/>
            <a:t> abonnement, og priserne vil være som angivet i SKI 50.48 prislisten.</a:t>
          </a:r>
          <a:endParaRPr lang="da-DK" sz="900" b="1" kern="1200" dirty="0"/>
        </a:p>
      </dsp:txBody>
      <dsp:txXfrm rot="-5400000">
        <a:off x="3241839" y="62761"/>
        <a:ext cx="6739710" cy="324819"/>
      </dsp:txXfrm>
    </dsp:sp>
    <dsp:sp modelId="{DD64E41A-B014-4F17-9321-744490CC49CC}">
      <dsp:nvSpPr>
        <dsp:cNvPr id="0" name=""/>
        <dsp:cNvSpPr/>
      </dsp:nvSpPr>
      <dsp:spPr>
        <a:xfrm>
          <a:off x="569452" y="193"/>
          <a:ext cx="2672386" cy="449954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17145" rIns="34290" bIns="1714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900" b="0" kern="1200" dirty="0"/>
            <a:t>Jeg benytter min telefon fra Danmark og ringer til et EU land</a:t>
          </a:r>
        </a:p>
      </dsp:txBody>
      <dsp:txXfrm>
        <a:off x="591417" y="22158"/>
        <a:ext cx="2628456" cy="406024"/>
      </dsp:txXfrm>
    </dsp:sp>
    <dsp:sp modelId="{62C900BD-34DA-4242-B524-A9BC141D3C9A}">
      <dsp:nvSpPr>
        <dsp:cNvPr id="0" name=""/>
        <dsp:cNvSpPr/>
      </dsp:nvSpPr>
      <dsp:spPr>
        <a:xfrm rot="5400000">
          <a:off x="6440498" y="-2692028"/>
          <a:ext cx="359963" cy="6757282"/>
        </a:xfrm>
        <a:prstGeom prst="round2Same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a-DK" sz="900" b="0" kern="1200" dirty="0"/>
            <a:t>Opkald fra Danmark til ikke EU lande ikke omfattet af dit SKI 50.48 </a:t>
          </a:r>
          <a:r>
            <a:rPr lang="da-DK" sz="900" b="0" kern="1200" dirty="0" err="1"/>
            <a:t>flatrate</a:t>
          </a:r>
          <a:r>
            <a:rPr lang="da-DK" sz="900" b="0" kern="1200" dirty="0"/>
            <a:t> abonnement  og priserne vil være som angivet i SKI 50.48 prislisten.</a:t>
          </a:r>
          <a:endParaRPr lang="da-DK" sz="900" b="1" kern="1200" dirty="0"/>
        </a:p>
      </dsp:txBody>
      <dsp:txXfrm rot="-5400000">
        <a:off x="3241839" y="524203"/>
        <a:ext cx="6739710" cy="324819"/>
      </dsp:txXfrm>
    </dsp:sp>
    <dsp:sp modelId="{B27E4E8E-BE7E-4859-93AE-C99790AF3120}">
      <dsp:nvSpPr>
        <dsp:cNvPr id="0" name=""/>
        <dsp:cNvSpPr/>
      </dsp:nvSpPr>
      <dsp:spPr>
        <a:xfrm>
          <a:off x="569452" y="461635"/>
          <a:ext cx="2672386" cy="449954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17145" rIns="34290" bIns="1714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900" b="0" kern="1200" dirty="0"/>
            <a:t>Jeg benytter min telefon fra Danmark og ringer til et ikke EU land</a:t>
          </a:r>
        </a:p>
      </dsp:txBody>
      <dsp:txXfrm>
        <a:off x="591417" y="483600"/>
        <a:ext cx="2628456" cy="406024"/>
      </dsp:txXfrm>
    </dsp:sp>
    <dsp:sp modelId="{FA123E8B-2174-4ABB-B6F9-E14370CC7E07}">
      <dsp:nvSpPr>
        <dsp:cNvPr id="0" name=""/>
        <dsp:cNvSpPr/>
      </dsp:nvSpPr>
      <dsp:spPr>
        <a:xfrm rot="5400000">
          <a:off x="6418827" y="-2251666"/>
          <a:ext cx="403305" cy="6757282"/>
        </a:xfrm>
        <a:prstGeom prst="round2Same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da-DK" sz="900" b="1" kern="1200" dirty="0"/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a-DK" sz="900" b="0" kern="1200" dirty="0"/>
            <a:t>Opkald fra et EU land til Danmark er inkluderet i dit SKI 50.48 </a:t>
          </a:r>
          <a:r>
            <a:rPr lang="da-DK" sz="900" b="0" kern="1200" dirty="0" err="1"/>
            <a:t>flatrate</a:t>
          </a:r>
          <a:r>
            <a:rPr lang="da-DK" sz="900" b="0" kern="1200" dirty="0"/>
            <a:t> abonnement.</a:t>
          </a:r>
          <a:br>
            <a:rPr lang="da-DK" sz="900" b="0" kern="1200" dirty="0"/>
          </a:br>
          <a:endParaRPr lang="da-DK" sz="900" b="1" kern="1200" dirty="0"/>
        </a:p>
      </dsp:txBody>
      <dsp:txXfrm rot="-5400000">
        <a:off x="3241839" y="945010"/>
        <a:ext cx="6737594" cy="363929"/>
      </dsp:txXfrm>
    </dsp:sp>
    <dsp:sp modelId="{691FB358-6D9A-47C0-AB9B-32649D5652E5}">
      <dsp:nvSpPr>
        <dsp:cNvPr id="0" name=""/>
        <dsp:cNvSpPr/>
      </dsp:nvSpPr>
      <dsp:spPr>
        <a:xfrm>
          <a:off x="569452" y="923077"/>
          <a:ext cx="2672386" cy="407793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17145" rIns="34290" bIns="1714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900" b="0" kern="1200" dirty="0"/>
            <a:t>Jeg benytter min telefon fra et EU land og ringer til Danmark</a:t>
          </a:r>
        </a:p>
      </dsp:txBody>
      <dsp:txXfrm>
        <a:off x="589359" y="942984"/>
        <a:ext cx="2632572" cy="367979"/>
      </dsp:txXfrm>
    </dsp:sp>
    <dsp:sp modelId="{986570E6-AE4F-419C-800E-E5051EE3E1D2}">
      <dsp:nvSpPr>
        <dsp:cNvPr id="0" name=""/>
        <dsp:cNvSpPr/>
      </dsp:nvSpPr>
      <dsp:spPr>
        <a:xfrm rot="5400000">
          <a:off x="6440381" y="-1811158"/>
          <a:ext cx="360198" cy="6757282"/>
        </a:xfrm>
        <a:prstGeom prst="round2Same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a-DK" sz="900" b="0" kern="1200" dirty="0"/>
            <a:t>Opkald fra et EU land til et andet EU lander er inkluderet i dit SKI 50.48 </a:t>
          </a:r>
          <a:r>
            <a:rPr lang="da-DK" sz="900" b="0" kern="1200" dirty="0" err="1"/>
            <a:t>flatrate</a:t>
          </a:r>
          <a:r>
            <a:rPr lang="da-DK" sz="900" b="0" kern="1200" dirty="0"/>
            <a:t> abonnement.</a:t>
          </a:r>
          <a:endParaRPr lang="da-DK" sz="900" b="1" kern="1200" dirty="0"/>
        </a:p>
      </dsp:txBody>
      <dsp:txXfrm rot="-5400000">
        <a:off x="3241840" y="1404966"/>
        <a:ext cx="6739699" cy="325032"/>
      </dsp:txXfrm>
    </dsp:sp>
    <dsp:sp modelId="{B2963817-1E97-4376-AC06-D9CD09F6C597}">
      <dsp:nvSpPr>
        <dsp:cNvPr id="0" name=""/>
        <dsp:cNvSpPr/>
      </dsp:nvSpPr>
      <dsp:spPr>
        <a:xfrm>
          <a:off x="569452" y="1342359"/>
          <a:ext cx="2672386" cy="450246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17145" rIns="34290" bIns="1714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900" b="0" kern="1200" dirty="0"/>
            <a:t>Jeg benytter min telefon fra et EU land og ringer til et andet EU land</a:t>
          </a:r>
        </a:p>
      </dsp:txBody>
      <dsp:txXfrm>
        <a:off x="591431" y="1364338"/>
        <a:ext cx="2628428" cy="406288"/>
      </dsp:txXfrm>
    </dsp:sp>
    <dsp:sp modelId="{F50729AF-A2E8-4988-AFBB-B10F0E6A2AC7}">
      <dsp:nvSpPr>
        <dsp:cNvPr id="0" name=""/>
        <dsp:cNvSpPr/>
      </dsp:nvSpPr>
      <dsp:spPr>
        <a:xfrm rot="5400000">
          <a:off x="6327671" y="-1248366"/>
          <a:ext cx="585617" cy="6757282"/>
        </a:xfrm>
        <a:prstGeom prst="round2Same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a-DK" sz="900" b="0" kern="1200" dirty="0"/>
            <a:t>Priserne er angivet i SKI 50.48 prislisten i kategorierne: </a:t>
          </a:r>
          <a:br>
            <a:rPr lang="da-DK" sz="900" b="0" kern="1200" dirty="0"/>
          </a:br>
          <a:r>
            <a:rPr lang="da-DK" sz="900" b="0" kern="1200" dirty="0" err="1"/>
            <a:t>Mobiltelefoni</a:t>
          </a:r>
          <a:r>
            <a:rPr lang="da-DK" sz="900" b="0" kern="1200" dirty="0"/>
            <a:t> - Roaming foretaget i udland (opkald foretaget i et andet land end Danmark)</a:t>
          </a:r>
          <a:br>
            <a:rPr lang="da-DK" sz="900" b="0" kern="1200" dirty="0"/>
          </a:br>
          <a:r>
            <a:rPr lang="da-DK" sz="900" b="0" i="0" u="none" kern="1200" dirty="0" err="1"/>
            <a:t>Mobiltelefoni</a:t>
          </a:r>
          <a:r>
            <a:rPr lang="da-DK" sz="900" b="0" i="0" u="none" kern="1200" dirty="0"/>
            <a:t> - Roaming - modtaget i udlandet (opkald modtaget i et andet land end Danmark)</a:t>
          </a:r>
          <a:br>
            <a:rPr lang="da-DK" sz="900" b="0" i="0" u="none" kern="1200" dirty="0"/>
          </a:br>
          <a:r>
            <a:rPr lang="da-DK" sz="900" b="0" i="0" u="none" kern="1200" dirty="0"/>
            <a:t>SMS afsendt fra udland</a:t>
          </a:r>
          <a:endParaRPr lang="da-DK" sz="900" b="1" kern="1200" dirty="0"/>
        </a:p>
      </dsp:txBody>
      <dsp:txXfrm rot="-5400000">
        <a:off x="3241839" y="1866053"/>
        <a:ext cx="6728695" cy="528443"/>
      </dsp:txXfrm>
    </dsp:sp>
    <dsp:sp modelId="{F13716B3-20EE-4557-92BE-02BD988244C2}">
      <dsp:nvSpPr>
        <dsp:cNvPr id="0" name=""/>
        <dsp:cNvSpPr/>
      </dsp:nvSpPr>
      <dsp:spPr>
        <a:xfrm>
          <a:off x="569452" y="1804093"/>
          <a:ext cx="2672386" cy="652362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17145" rIns="34290" bIns="1714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900" b="0" kern="1200" dirty="0">
              <a:latin typeface="+mn-lt"/>
            </a:rPr>
            <a:t>Jeg benytter min telefon fra et EU land og ringer til et ikke EU </a:t>
          </a:r>
          <a:r>
            <a:rPr lang="da-DK" sz="900" b="0" kern="1200" dirty="0"/>
            <a:t>land</a:t>
          </a:r>
        </a:p>
      </dsp:txBody>
      <dsp:txXfrm>
        <a:off x="601298" y="1835939"/>
        <a:ext cx="2608694" cy="588670"/>
      </dsp:txXfrm>
    </dsp:sp>
    <dsp:sp modelId="{7D2AAF44-4A9F-496A-A3A5-A720EDA4DB70}">
      <dsp:nvSpPr>
        <dsp:cNvPr id="0" name=""/>
        <dsp:cNvSpPr/>
      </dsp:nvSpPr>
      <dsp:spPr>
        <a:xfrm rot="5400000">
          <a:off x="6358669" y="-583432"/>
          <a:ext cx="523621" cy="6757282"/>
        </a:xfrm>
        <a:prstGeom prst="round2Same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a-DK" sz="900" b="0" kern="1200" dirty="0"/>
            <a:t>Priserne er angivet i SKI 50.48 prislisten i kategorierne: </a:t>
          </a:r>
          <a:br>
            <a:rPr lang="da-DK" sz="900" b="0" kern="1200" dirty="0"/>
          </a:br>
          <a:r>
            <a:rPr lang="da-DK" sz="900" b="0" kern="1200" dirty="0" err="1"/>
            <a:t>Mobiltelefoni</a:t>
          </a:r>
          <a:r>
            <a:rPr lang="da-DK" sz="900" b="0" kern="1200" dirty="0"/>
            <a:t> - Roaming foretaget i udland (opkald foretaget i et andet land end Danmark)</a:t>
          </a:r>
          <a:br>
            <a:rPr lang="da-DK" sz="900" b="0" kern="1200" dirty="0"/>
          </a:br>
          <a:r>
            <a:rPr lang="da-DK" sz="900" b="0" i="0" u="none" kern="1200" dirty="0" err="1"/>
            <a:t>Mobiltelefoni</a:t>
          </a:r>
          <a:r>
            <a:rPr lang="da-DK" sz="900" b="0" i="0" u="none" kern="1200" dirty="0"/>
            <a:t> - Roaming - modtaget i udlandet (opkald modtaget i et andet land end Danmark)</a:t>
          </a:r>
          <a:br>
            <a:rPr lang="da-DK" sz="900" b="0" i="0" u="none" kern="1200" dirty="0"/>
          </a:br>
          <a:r>
            <a:rPr lang="da-DK" sz="900" b="0" i="0" u="none" kern="1200" dirty="0"/>
            <a:t>SMS afsendt fra udland</a:t>
          </a:r>
          <a:endParaRPr lang="da-DK" sz="900" b="1" kern="1200" dirty="0"/>
        </a:p>
      </dsp:txBody>
      <dsp:txXfrm rot="-5400000">
        <a:off x="3241839" y="2558959"/>
        <a:ext cx="6731721" cy="472499"/>
      </dsp:txXfrm>
    </dsp:sp>
    <dsp:sp modelId="{B8169308-07CB-4A12-8E3D-6C27E2C210C7}">
      <dsp:nvSpPr>
        <dsp:cNvPr id="0" name=""/>
        <dsp:cNvSpPr/>
      </dsp:nvSpPr>
      <dsp:spPr>
        <a:xfrm>
          <a:off x="569452" y="2467943"/>
          <a:ext cx="2672386" cy="654528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17145" rIns="34290" bIns="1714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900" b="0" kern="1200" dirty="0"/>
            <a:t>Jeg benytter min telefon fra et ikke EU land og ringer til Danmark</a:t>
          </a:r>
        </a:p>
      </dsp:txBody>
      <dsp:txXfrm>
        <a:off x="601403" y="2499894"/>
        <a:ext cx="2608484" cy="590626"/>
      </dsp:txXfrm>
    </dsp:sp>
    <dsp:sp modelId="{BED83585-7746-45F8-B811-92F3CA5496DC}">
      <dsp:nvSpPr>
        <dsp:cNvPr id="0" name=""/>
        <dsp:cNvSpPr/>
      </dsp:nvSpPr>
      <dsp:spPr>
        <a:xfrm rot="5400000">
          <a:off x="6373418" y="64147"/>
          <a:ext cx="494124" cy="6757282"/>
        </a:xfrm>
        <a:prstGeom prst="round2Same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a-DK" sz="900" b="0" kern="1200" dirty="0"/>
            <a:t>Priserne er angivet i SKI 50.48 prislisten i kategorierne: </a:t>
          </a:r>
          <a:br>
            <a:rPr lang="da-DK" sz="900" b="0" kern="1200" dirty="0"/>
          </a:br>
          <a:r>
            <a:rPr lang="da-DK" sz="900" b="0" kern="1200" dirty="0" err="1"/>
            <a:t>Mobiltelefoni</a:t>
          </a:r>
          <a:r>
            <a:rPr lang="da-DK" sz="900" b="0" kern="1200" dirty="0"/>
            <a:t> - Roaming foretaget i udland (opkald foretaget i et andet land end Danmark)</a:t>
          </a:r>
          <a:br>
            <a:rPr lang="da-DK" sz="900" b="0" kern="1200" dirty="0"/>
          </a:br>
          <a:r>
            <a:rPr lang="da-DK" sz="900" b="0" i="0" u="none" kern="1200" dirty="0" err="1"/>
            <a:t>Mobiltelefoni</a:t>
          </a:r>
          <a:r>
            <a:rPr lang="da-DK" sz="900" b="0" i="0" u="none" kern="1200" dirty="0"/>
            <a:t> - Roaming - modtaget i udlandet (opkald modtaget i et andet land end Danmark)</a:t>
          </a:r>
          <a:br>
            <a:rPr lang="da-DK" sz="900" b="0" i="0" u="none" kern="1200" dirty="0"/>
          </a:br>
          <a:r>
            <a:rPr lang="da-DK" sz="900" b="0" i="0" u="none" kern="1200" dirty="0"/>
            <a:t>SMS afsendt fra udland</a:t>
          </a:r>
          <a:endParaRPr lang="da-DK" sz="900" b="1" kern="1200" dirty="0"/>
        </a:p>
      </dsp:txBody>
      <dsp:txXfrm rot="-5400000">
        <a:off x="3241840" y="3219847"/>
        <a:ext cx="6733161" cy="445882"/>
      </dsp:txXfrm>
    </dsp:sp>
    <dsp:sp modelId="{305B0871-7B45-4290-88DF-2EDCE97A0FE8}">
      <dsp:nvSpPr>
        <dsp:cNvPr id="0" name=""/>
        <dsp:cNvSpPr/>
      </dsp:nvSpPr>
      <dsp:spPr>
        <a:xfrm>
          <a:off x="569452" y="3133960"/>
          <a:ext cx="2672386" cy="617655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17145" rIns="34290" bIns="1714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900" b="0" kern="1200" dirty="0"/>
            <a:t>Jeg benytter min telefon fra et ikke EU land og ringer til et EU land</a:t>
          </a:r>
        </a:p>
      </dsp:txBody>
      <dsp:txXfrm>
        <a:off x="599603" y="3164111"/>
        <a:ext cx="2612084" cy="557353"/>
      </dsp:txXfrm>
    </dsp:sp>
    <dsp:sp modelId="{6D666509-4E2C-421E-A85A-47D2531327DF}">
      <dsp:nvSpPr>
        <dsp:cNvPr id="0" name=""/>
        <dsp:cNvSpPr/>
      </dsp:nvSpPr>
      <dsp:spPr>
        <a:xfrm rot="5400000">
          <a:off x="6368803" y="699058"/>
          <a:ext cx="503352" cy="6757282"/>
        </a:xfrm>
        <a:prstGeom prst="round2Same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a-DK" sz="900" b="0" kern="1200" dirty="0"/>
            <a:t>Priserne er angivet i SKI 50.48 prislisten i kategorierne: </a:t>
          </a:r>
          <a:br>
            <a:rPr lang="da-DK" sz="900" b="0" kern="1200" dirty="0"/>
          </a:br>
          <a:r>
            <a:rPr lang="da-DK" sz="900" b="0" kern="1200" dirty="0" err="1"/>
            <a:t>Mobiltelefoni</a:t>
          </a:r>
          <a:r>
            <a:rPr lang="da-DK" sz="900" b="0" kern="1200" dirty="0"/>
            <a:t> - Roaming foretaget i udland (opkald foretaget i et andet land end Danmark)</a:t>
          </a:r>
          <a:br>
            <a:rPr lang="da-DK" sz="900" b="0" kern="1200" dirty="0"/>
          </a:br>
          <a:r>
            <a:rPr lang="da-DK" sz="900" b="0" i="0" u="none" kern="1200" dirty="0" err="1"/>
            <a:t>Mobiltelefoni</a:t>
          </a:r>
          <a:r>
            <a:rPr lang="da-DK" sz="900" b="0" i="0" u="none" kern="1200" dirty="0"/>
            <a:t> - Roaming - modtaget i udlandet (opkald modtaget i et andet land end Danmark)</a:t>
          </a:r>
          <a:br>
            <a:rPr lang="da-DK" sz="900" b="0" i="0" u="none" kern="1200" dirty="0"/>
          </a:br>
          <a:r>
            <a:rPr lang="da-DK" sz="900" b="0" i="0" u="none" kern="1200" dirty="0"/>
            <a:t>SMS afsendt fra udland</a:t>
          </a:r>
          <a:endParaRPr lang="da-DK" sz="900" b="1" kern="1200" dirty="0"/>
        </a:p>
      </dsp:txBody>
      <dsp:txXfrm rot="-5400000">
        <a:off x="3241838" y="3850595"/>
        <a:ext cx="6732710" cy="454208"/>
      </dsp:txXfrm>
    </dsp:sp>
    <dsp:sp modelId="{B9BEBA7F-42D0-4CFB-B9BC-C8EE2102A203}">
      <dsp:nvSpPr>
        <dsp:cNvPr id="0" name=""/>
        <dsp:cNvSpPr/>
      </dsp:nvSpPr>
      <dsp:spPr>
        <a:xfrm>
          <a:off x="569452" y="3763103"/>
          <a:ext cx="2672386" cy="629191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17145" rIns="34290" bIns="1714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900" b="0" kern="1200" dirty="0"/>
            <a:t>Jeg benytter min telefon fra et ikke EU land og ringer til et ikke EU land</a:t>
          </a:r>
          <a:br>
            <a:rPr lang="da-DK" sz="900" b="1" kern="1200" dirty="0"/>
          </a:br>
          <a:endParaRPr lang="da-DK" sz="900" kern="1200" dirty="0"/>
        </a:p>
      </dsp:txBody>
      <dsp:txXfrm>
        <a:off x="600167" y="3793818"/>
        <a:ext cx="2610956" cy="567761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F81ADE2-C003-4CE0-AD03-1FCE0920B9C4}">
      <dsp:nvSpPr>
        <dsp:cNvPr id="0" name=""/>
        <dsp:cNvSpPr/>
      </dsp:nvSpPr>
      <dsp:spPr>
        <a:xfrm rot="5400000">
          <a:off x="6292612" y="-2856071"/>
          <a:ext cx="715342" cy="6763887"/>
        </a:xfrm>
        <a:prstGeom prst="round2Same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a-DK" sz="900" b="0" kern="1200" dirty="0"/>
            <a:t>Du kan bruge hele din pakke uden beregning. Når du har opbrugt din pakke, vil der ske speed drop.</a:t>
          </a:r>
          <a:endParaRPr lang="da-DK" sz="900" b="1" kern="1200" dirty="0"/>
        </a:p>
      </dsp:txBody>
      <dsp:txXfrm rot="-5400000">
        <a:off x="3268340" y="203121"/>
        <a:ext cx="6728967" cy="645502"/>
      </dsp:txXfrm>
    </dsp:sp>
    <dsp:sp modelId="{DD64E41A-B014-4F17-9321-744490CC49CC}">
      <dsp:nvSpPr>
        <dsp:cNvPr id="0" name=""/>
        <dsp:cNvSpPr/>
      </dsp:nvSpPr>
      <dsp:spPr>
        <a:xfrm>
          <a:off x="599542" y="79183"/>
          <a:ext cx="2674999" cy="894178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17145" rIns="34290" bIns="1714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900" b="0" kern="1200" dirty="0"/>
            <a:t>Jeg benytter min telefon i Danmark til data</a:t>
          </a:r>
        </a:p>
      </dsp:txBody>
      <dsp:txXfrm>
        <a:off x="643192" y="122833"/>
        <a:ext cx="2587699" cy="806878"/>
      </dsp:txXfrm>
    </dsp:sp>
    <dsp:sp modelId="{62C900BD-34DA-4242-B524-A9BC141D3C9A}">
      <dsp:nvSpPr>
        <dsp:cNvPr id="0" name=""/>
        <dsp:cNvSpPr/>
      </dsp:nvSpPr>
      <dsp:spPr>
        <a:xfrm rot="5400000">
          <a:off x="6293877" y="-1873793"/>
          <a:ext cx="712813" cy="6763887"/>
        </a:xfrm>
        <a:prstGeom prst="round2Same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a-DK" sz="900" kern="1200" dirty="0"/>
            <a:t>Du kan bruge data op til din Fair </a:t>
          </a:r>
          <a:r>
            <a:rPr lang="da-DK" sz="900" kern="1200" dirty="0" err="1"/>
            <a:t>Use</a:t>
          </a:r>
          <a:r>
            <a:rPr lang="da-DK" sz="900" kern="1200" dirty="0"/>
            <a:t> Limit gratis. Det du bruger derudover, takseres til en takst fastsat af EU (pt. DKK 45 pr. GB)</a:t>
          </a:r>
          <a:endParaRPr lang="da-DK" sz="900" b="1" kern="1200" dirty="0"/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a-DK" sz="900" kern="1200" dirty="0"/>
            <a:t>Men totalt kan du kun bruge det antal GB, der er i din datapakke. Dvs. har du opbrugt hele din datapakke, før du tog ud og rejse, så har du ikke noget data at tage med til udlandet.</a:t>
          </a:r>
        </a:p>
      </dsp:txBody>
      <dsp:txXfrm rot="-5400000">
        <a:off x="3268341" y="1186540"/>
        <a:ext cx="6729090" cy="643219"/>
      </dsp:txXfrm>
    </dsp:sp>
    <dsp:sp modelId="{B27E4E8E-BE7E-4859-93AE-C99790AF3120}">
      <dsp:nvSpPr>
        <dsp:cNvPr id="0" name=""/>
        <dsp:cNvSpPr/>
      </dsp:nvSpPr>
      <dsp:spPr>
        <a:xfrm>
          <a:off x="564843" y="1129889"/>
          <a:ext cx="2674999" cy="800199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17145" rIns="34290" bIns="1714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900" b="0" kern="1200" dirty="0"/>
            <a:t>Jeg benytter min telefon i et EU land til data</a:t>
          </a:r>
        </a:p>
      </dsp:txBody>
      <dsp:txXfrm>
        <a:off x="603905" y="1168951"/>
        <a:ext cx="2596875" cy="722075"/>
      </dsp:txXfrm>
    </dsp:sp>
    <dsp:sp modelId="{FA123E8B-2174-4ABB-B6F9-E14370CC7E07}">
      <dsp:nvSpPr>
        <dsp:cNvPr id="0" name=""/>
        <dsp:cNvSpPr/>
      </dsp:nvSpPr>
      <dsp:spPr>
        <a:xfrm rot="5400000">
          <a:off x="6245882" y="-877916"/>
          <a:ext cx="751807" cy="6763887"/>
        </a:xfrm>
        <a:prstGeom prst="round2Same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da-DK" sz="900" b="1" kern="1200" dirty="0"/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a-DK" sz="900" b="0" kern="1200" dirty="0"/>
            <a:t>Det data du bruger takseres. Priserne er angivet i SKI prislisten under Mobilt Bredbånd.</a:t>
          </a:r>
          <a:br>
            <a:rPr lang="da-DK" sz="900" b="0" kern="1200" dirty="0"/>
          </a:br>
          <a:endParaRPr lang="da-DK" sz="900" b="1" kern="1200" dirty="0"/>
        </a:p>
      </dsp:txBody>
      <dsp:txXfrm rot="-5400000">
        <a:off x="3239842" y="2164824"/>
        <a:ext cx="6727187" cy="678407"/>
      </dsp:txXfrm>
    </dsp:sp>
    <dsp:sp modelId="{691FB358-6D9A-47C0-AB9B-32649D5652E5}">
      <dsp:nvSpPr>
        <dsp:cNvPr id="0" name=""/>
        <dsp:cNvSpPr/>
      </dsp:nvSpPr>
      <dsp:spPr>
        <a:xfrm>
          <a:off x="564843" y="2086615"/>
          <a:ext cx="2674999" cy="834823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17145" rIns="34290" bIns="1714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900" b="0" kern="1200" dirty="0"/>
            <a:t>Jeg benytter min telefon i et ikke 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900" b="0" kern="1200" dirty="0"/>
            <a:t>EU land til data</a:t>
          </a:r>
        </a:p>
      </dsp:txBody>
      <dsp:txXfrm>
        <a:off x="605596" y="2127368"/>
        <a:ext cx="2593493" cy="75331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957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da-DK" dirty="0"/>
          </a:p>
        </p:txBody>
      </p:sp>
      <p:sp>
        <p:nvSpPr>
          <p:cNvPr id="1126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4450" y="0"/>
            <a:ext cx="294957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endParaRPr lang="da-DK" dirty="0"/>
          </a:p>
        </p:txBody>
      </p:sp>
      <p:sp>
        <p:nvSpPr>
          <p:cNvPr id="1126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40863"/>
            <a:ext cx="2949575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da-DK" dirty="0"/>
          </a:p>
        </p:txBody>
      </p:sp>
      <p:sp>
        <p:nvSpPr>
          <p:cNvPr id="1126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4450" y="9440863"/>
            <a:ext cx="2949575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C45E0E3C-D0FC-464E-9A7F-135EEA1D108A}" type="slidenum">
              <a:rPr lang="da-DK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34377854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957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61" tIns="48331" rIns="96661" bIns="48331" numCol="1" anchor="t" anchorCtr="0" compatLnSpc="1">
            <a:prstTxWarp prst="textNoShape">
              <a:avLst/>
            </a:prstTxWarp>
          </a:bodyPr>
          <a:lstStyle>
            <a:lvl1pPr defTabSz="966788">
              <a:defRPr sz="1300"/>
            </a:lvl1pPr>
          </a:lstStyle>
          <a:p>
            <a:endParaRPr lang="da-DK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4450" y="0"/>
            <a:ext cx="294957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61" tIns="48331" rIns="96661" bIns="48331" numCol="1" anchor="t" anchorCtr="0" compatLnSpc="1">
            <a:prstTxWarp prst="textNoShape">
              <a:avLst/>
            </a:prstTxWarp>
          </a:bodyPr>
          <a:lstStyle>
            <a:lvl1pPr algn="r" defTabSz="966788">
              <a:defRPr sz="1300"/>
            </a:lvl1pPr>
          </a:lstStyle>
          <a:p>
            <a:endParaRPr lang="da-DK" dirty="0"/>
          </a:p>
        </p:txBody>
      </p:sp>
      <p:sp>
        <p:nvSpPr>
          <p:cNvPr id="307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0488" y="746125"/>
            <a:ext cx="6624637" cy="37274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1038" y="4721225"/>
            <a:ext cx="5443537" cy="4471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61" tIns="48331" rIns="96661" bIns="4833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text</a:t>
            </a:r>
            <a:r>
              <a:rPr lang="da-DK" dirty="0"/>
              <a:t> </a:t>
            </a:r>
            <a:r>
              <a:rPr lang="da-DK" dirty="0" err="1"/>
              <a:t>styles</a:t>
            </a:r>
            <a:endParaRPr lang="da-DK" dirty="0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40863"/>
            <a:ext cx="2949575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61" tIns="48331" rIns="96661" bIns="48331" numCol="1" anchor="b" anchorCtr="0" compatLnSpc="1">
            <a:prstTxWarp prst="textNoShape">
              <a:avLst/>
            </a:prstTxWarp>
          </a:bodyPr>
          <a:lstStyle>
            <a:lvl1pPr defTabSz="966788">
              <a:defRPr sz="1300"/>
            </a:lvl1pPr>
          </a:lstStyle>
          <a:p>
            <a:endParaRPr lang="da-DK" dirty="0"/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4450" y="9440863"/>
            <a:ext cx="2949575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61" tIns="48331" rIns="96661" bIns="48331" numCol="1" anchor="b" anchorCtr="0" compatLnSpc="1">
            <a:prstTxWarp prst="textNoShape">
              <a:avLst/>
            </a:prstTxWarp>
          </a:bodyPr>
          <a:lstStyle>
            <a:lvl1pPr algn="r" defTabSz="966788">
              <a:defRPr sz="1300"/>
            </a:lvl1pPr>
          </a:lstStyle>
          <a:p>
            <a:fld id="{828C55D4-8043-4D6C-A8E0-B2018DE77585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20306838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Verdana" pitchFamily="34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Verdana" pitchFamily="34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Verdana" pitchFamily="34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Verdana" pitchFamily="34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Verdana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8C55D4-8043-4D6C-A8E0-B2018DE77585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03994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a-DK" dirty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F923E5-7B97-4806-80E5-629DA1B6583D}" type="slidenum">
              <a:rPr lang="da-DK" smtClean="0"/>
              <a:pPr/>
              <a:t>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6936951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a-DK" dirty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F923E5-7B97-4806-80E5-629DA1B6583D}" type="slidenum">
              <a:rPr lang="da-DK" smtClean="0"/>
              <a:pPr/>
              <a:t>3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42340024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8C55D4-8043-4D6C-A8E0-B2018DE77585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761323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a-DK" dirty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F923E5-7B97-4806-80E5-629DA1B6583D}" type="slidenum">
              <a:rPr lang="da-DK" smtClean="0"/>
              <a:pPr/>
              <a:t>5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79377316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a-DK" dirty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F923E5-7B97-4806-80E5-629DA1B6583D}" type="slidenum">
              <a:rPr lang="da-DK" smtClean="0"/>
              <a:pPr/>
              <a:t>6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147028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s">
    <p:bg>
      <p:bgPr>
        <a:solidFill>
          <a:srgbClr val="00336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 bwMode="auto">
          <a:xfrm>
            <a:off x="0" y="5661249"/>
            <a:ext cx="12190413" cy="1196752"/>
          </a:xfrm>
          <a:prstGeom prst="rect">
            <a:avLst/>
          </a:prstGeom>
          <a:solidFill>
            <a:srgbClr val="FFFFFF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54000" rIns="72000" bIns="5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9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</p:txBody>
      </p:sp>
      <p:sp>
        <p:nvSpPr>
          <p:cNvPr id="717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984123" y="1589089"/>
            <a:ext cx="10198987" cy="1115640"/>
          </a:xfrm>
        </p:spPr>
        <p:txBody>
          <a:bodyPr>
            <a:normAutofit/>
          </a:bodyPr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da-DK" noProof="0"/>
              <a:t>Click to edit Master title style</a:t>
            </a:r>
            <a:endParaRPr lang="da-DK" noProof="0" dirty="0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984123" y="3107061"/>
            <a:ext cx="10198987" cy="792088"/>
          </a:xfrm>
        </p:spPr>
        <p:txBody>
          <a:bodyPr>
            <a:norm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a-DK" noProof="0"/>
              <a:t>Click to edit Master subtitle style</a:t>
            </a:r>
            <a:endParaRPr lang="da-DK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07332735-7A3E-4A8B-8C8A-3D53BB481DD8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984123" y="2866654"/>
            <a:ext cx="10198987" cy="257547"/>
          </a:xfrm>
        </p:spPr>
        <p:txBody>
          <a:bodyPr/>
          <a:lstStyle>
            <a:lvl1pPr marL="0" indent="0">
              <a:buNone/>
              <a:defRPr sz="16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Sted &amp; dato</a:t>
            </a:r>
          </a:p>
        </p:txBody>
      </p:sp>
      <p:cxnSp>
        <p:nvCxnSpPr>
          <p:cNvPr id="11" name="Straight Connector 10"/>
          <p:cNvCxnSpPr/>
          <p:nvPr userDrawn="1"/>
        </p:nvCxnSpPr>
        <p:spPr bwMode="auto">
          <a:xfrm>
            <a:off x="994108" y="2780928"/>
            <a:ext cx="10222669" cy="0"/>
          </a:xfrm>
          <a:prstGeom prst="line">
            <a:avLst/>
          </a:prstGeom>
          <a:solidFill>
            <a:schemeClr val="accent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9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0786" y="5960204"/>
            <a:ext cx="1440000" cy="584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65775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18979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 dirty="0"/>
              <a:t>Klik for at redigere titeltypografi i masteren</a:t>
            </a:r>
            <a:endParaRPr lang="da-DK" noProof="0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575658" y="895552"/>
            <a:ext cx="11047562" cy="413543"/>
          </a:xfrm>
        </p:spPr>
        <p:txBody>
          <a:bodyPr/>
          <a:lstStyle>
            <a:lvl1pPr marL="0" indent="0">
              <a:lnSpc>
                <a:spcPct val="96000"/>
              </a:lnSpc>
              <a:buNone/>
              <a:defRPr sz="1600"/>
            </a:lvl1pPr>
          </a:lstStyle>
          <a:p>
            <a:pPr lvl="0"/>
            <a:r>
              <a:rPr lang="da-DK" dirty="0"/>
              <a:t>Klik og tilføj underoverskriften</a:t>
            </a:r>
            <a:br>
              <a:rPr lang="da-DK" dirty="0"/>
            </a:br>
            <a:endParaRPr lang="da-DK" dirty="0"/>
          </a:p>
        </p:txBody>
      </p:sp>
      <p:sp>
        <p:nvSpPr>
          <p:cNvPr id="8" name="Pladsholder til tekst 3"/>
          <p:cNvSpPr>
            <a:spLocks noGrp="1"/>
          </p:cNvSpPr>
          <p:nvPr>
            <p:ph type="body" sz="quarter" idx="15" hasCustomPrompt="1"/>
          </p:nvPr>
        </p:nvSpPr>
        <p:spPr>
          <a:xfrm>
            <a:off x="575658" y="1333478"/>
            <a:ext cx="11047562" cy="1303434"/>
          </a:xfrm>
        </p:spPr>
        <p:txBody>
          <a:bodyPr>
            <a:spAutoFit/>
          </a:bodyPr>
          <a:lstStyle>
            <a:lvl1pPr>
              <a:defRPr baseline="0"/>
            </a:lvl1pPr>
          </a:lstStyle>
          <a:p>
            <a:pPr lvl="0"/>
            <a:r>
              <a:rPr lang="da-DK" dirty="0"/>
              <a:t>Klik og tilføj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11118371" y="6671904"/>
            <a:ext cx="959875" cy="139700"/>
          </a:xfrm>
        </p:spPr>
        <p:txBody>
          <a:bodyPr/>
          <a:lstStyle>
            <a:lvl1pPr algn="r">
              <a:defRPr/>
            </a:lvl1pPr>
          </a:lstStyle>
          <a:p>
            <a:fld id="{4C559319-974E-43DE-8758-BFC4F0130C6A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564581" y="6208737"/>
            <a:ext cx="9562548" cy="4731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buNone/>
              <a:defRPr sz="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Her kan placeres 3 linjer tekst. </a:t>
            </a:r>
            <a:r>
              <a:rPr lang="da-DK" dirty="0" err="1"/>
              <a:t>f.eks</a:t>
            </a:r>
            <a:r>
              <a:rPr lang="da-DK" dirty="0"/>
              <a:t> noter i 2 linjer og kildeangivelse i den tredje.</a:t>
            </a:r>
          </a:p>
        </p:txBody>
      </p:sp>
    </p:spTree>
    <p:extLst>
      <p:ext uri="{BB962C8B-B14F-4D97-AF65-F5344CB8AC3E}">
        <p14:creationId xmlns:p14="http://schemas.microsoft.com/office/powerpoint/2010/main" val="313661484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94559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noProof="0"/>
              <a:t>Klik for at redigere titeltypografi i mastere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 noProof="0"/>
              <a:t>Klik for at redigere typografi i masteren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</a:p>
          <a:p>
            <a:pPr lvl="3"/>
            <a:r>
              <a:rPr lang="da-DK" noProof="0"/>
              <a:t>Fjerde niveau</a:t>
            </a:r>
          </a:p>
          <a:p>
            <a:pPr lvl="4"/>
            <a:r>
              <a:rPr lang="da-DK" noProof="0"/>
              <a:t>Femte niveau</a:t>
            </a:r>
            <a:endParaRPr lang="da-DK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9298661" y="6728420"/>
            <a:ext cx="2844430" cy="139700"/>
          </a:xfrm>
        </p:spPr>
        <p:txBody>
          <a:bodyPr/>
          <a:lstStyle>
            <a:lvl1pPr algn="r">
              <a:defRPr/>
            </a:lvl1pPr>
          </a:lstStyle>
          <a:p>
            <a:fld id="{4C559319-974E-43DE-8758-BFC4F0130C6A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8778895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eldias">
    <p:bg>
      <p:bgPr>
        <a:solidFill>
          <a:srgbClr val="00336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 bwMode="auto">
          <a:xfrm>
            <a:off x="0" y="5661249"/>
            <a:ext cx="12190413" cy="1196752"/>
          </a:xfrm>
          <a:prstGeom prst="rect">
            <a:avLst/>
          </a:prstGeom>
          <a:solidFill>
            <a:srgbClr val="FFFFFF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54000" rIns="72000" bIns="5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9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</p:txBody>
      </p:sp>
      <p:sp>
        <p:nvSpPr>
          <p:cNvPr id="717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984123" y="1589089"/>
            <a:ext cx="10198987" cy="1115640"/>
          </a:xfrm>
        </p:spPr>
        <p:txBody>
          <a:bodyPr>
            <a:normAutofit/>
          </a:bodyPr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da-DK" noProof="0"/>
              <a:t>Click to edit Master title style</a:t>
            </a:r>
            <a:endParaRPr lang="da-DK" noProof="0" dirty="0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984123" y="3107061"/>
            <a:ext cx="10198987" cy="792088"/>
          </a:xfrm>
        </p:spPr>
        <p:txBody>
          <a:bodyPr>
            <a:norm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a-DK" noProof="0"/>
              <a:t>Click to edit Master subtitle style</a:t>
            </a:r>
            <a:endParaRPr lang="da-DK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07332735-7A3E-4A8B-8C8A-3D53BB481DD8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984123" y="2866654"/>
            <a:ext cx="10198987" cy="257547"/>
          </a:xfrm>
        </p:spPr>
        <p:txBody>
          <a:bodyPr/>
          <a:lstStyle>
            <a:lvl1pPr marL="0" indent="0">
              <a:buNone/>
              <a:defRPr sz="16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Sted &amp; dato</a:t>
            </a:r>
          </a:p>
        </p:txBody>
      </p:sp>
      <p:cxnSp>
        <p:nvCxnSpPr>
          <p:cNvPr id="11" name="Straight Connector 10"/>
          <p:cNvCxnSpPr/>
          <p:nvPr userDrawn="1"/>
        </p:nvCxnSpPr>
        <p:spPr bwMode="auto">
          <a:xfrm>
            <a:off x="994108" y="2780928"/>
            <a:ext cx="10222669" cy="0"/>
          </a:xfrm>
          <a:prstGeom prst="line">
            <a:avLst/>
          </a:prstGeom>
          <a:solidFill>
            <a:schemeClr val="accent2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9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0786" y="5960204"/>
            <a:ext cx="1440000" cy="584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38459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700352" y="0"/>
            <a:ext cx="2559693" cy="1440000"/>
          </a:xfrm>
          <a:prstGeom prst="rect">
            <a:avLst/>
          </a:prstGeom>
        </p:spPr>
      </p:pic>
      <p:sp>
        <p:nvSpPr>
          <p:cNvPr id="7205" name="Rectangle 37"/>
          <p:cNvSpPr>
            <a:spLocks noChangeArrowheads="1"/>
          </p:cNvSpPr>
          <p:nvPr userDrawn="1"/>
        </p:nvSpPr>
        <p:spPr bwMode="auto">
          <a:xfrm>
            <a:off x="1" y="2"/>
            <a:ext cx="12190413" cy="5597525"/>
          </a:xfrm>
          <a:prstGeom prst="rect">
            <a:avLst/>
          </a:prstGeom>
          <a:solidFill>
            <a:schemeClr val="tx2"/>
          </a:solidFill>
          <a:ln w="6350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/>
            <a:endParaRPr lang="da-DK" sz="1900" noProof="0"/>
          </a:p>
        </p:txBody>
      </p:sp>
      <p:sp>
        <p:nvSpPr>
          <p:cNvPr id="7179" name="Oval 11"/>
          <p:cNvSpPr>
            <a:spLocks noChangeArrowheads="1"/>
          </p:cNvSpPr>
          <p:nvPr/>
        </p:nvSpPr>
        <p:spPr bwMode="auto">
          <a:xfrm>
            <a:off x="3718896" y="615952"/>
            <a:ext cx="4752619" cy="4752975"/>
          </a:xfrm>
          <a:prstGeom prst="ellipse">
            <a:avLst/>
          </a:prstGeom>
          <a:solidFill>
            <a:schemeClr val="bg1">
              <a:alpha val="85001"/>
            </a:schemeClr>
          </a:solidFill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da-DK" sz="1900" noProof="0"/>
          </a:p>
        </p:txBody>
      </p:sp>
      <p:sp>
        <p:nvSpPr>
          <p:cNvPr id="717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415587" y="1665290"/>
            <a:ext cx="3359238" cy="1292225"/>
          </a:xfrm>
        </p:spPr>
        <p:txBody>
          <a:bodyPr>
            <a:normAutofit/>
          </a:bodyPr>
          <a:lstStyle>
            <a:lvl1pPr algn="ctr"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da-DK" noProof="0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415587" y="3262314"/>
            <a:ext cx="3359238" cy="1108075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/>
              <a:t>Click to edit Master subtitle style</a:t>
            </a:r>
            <a:endParaRPr lang="da-DK" noProof="0"/>
          </a:p>
        </p:txBody>
      </p:sp>
      <p:sp>
        <p:nvSpPr>
          <p:cNvPr id="7182" name="Text Box 14"/>
          <p:cNvSpPr txBox="1">
            <a:spLocks noChangeArrowheads="1"/>
          </p:cNvSpPr>
          <p:nvPr/>
        </p:nvSpPr>
        <p:spPr bwMode="auto">
          <a:xfrm>
            <a:off x="-1910276" y="5939237"/>
            <a:ext cx="1669007" cy="615553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/>
            <a:r>
              <a:rPr lang="da-DK" sz="1000" noProof="1">
                <a:solidFill>
                  <a:schemeClr val="bg1">
                    <a:lumMod val="50000"/>
                  </a:schemeClr>
                </a:solidFill>
              </a:rPr>
              <a:t>Tilføj presentations titel</a:t>
            </a:r>
          </a:p>
          <a:p>
            <a:pPr algn="r"/>
            <a:r>
              <a:rPr lang="da-DK" sz="1000" noProof="1">
                <a:solidFill>
                  <a:schemeClr val="bg1">
                    <a:lumMod val="50000"/>
                  </a:schemeClr>
                </a:solidFill>
              </a:rPr>
              <a:t> i Sidehoved / sidefod</a:t>
            </a:r>
          </a:p>
          <a:p>
            <a:pPr algn="r"/>
            <a:endParaRPr lang="da-DK" sz="1000" noProof="1">
              <a:solidFill>
                <a:schemeClr val="bg1">
                  <a:lumMod val="50000"/>
                </a:schemeClr>
              </a:solidFill>
            </a:endParaRPr>
          </a:p>
          <a:p>
            <a:pPr algn="r"/>
            <a:r>
              <a:rPr lang="da-DK" sz="1000" noProof="1">
                <a:solidFill>
                  <a:schemeClr val="bg1">
                    <a:lumMod val="50000"/>
                  </a:schemeClr>
                </a:solidFill>
              </a:rPr>
              <a:t>Vis &gt; Sidehoved / sidefod</a:t>
            </a:r>
          </a:p>
        </p:txBody>
      </p:sp>
      <p:sp>
        <p:nvSpPr>
          <p:cNvPr id="7183" name="Line 15"/>
          <p:cNvSpPr>
            <a:spLocks noChangeShapeType="1"/>
          </p:cNvSpPr>
          <p:nvPr/>
        </p:nvSpPr>
        <p:spPr bwMode="auto">
          <a:xfrm>
            <a:off x="-819044" y="6583363"/>
            <a:ext cx="577775" cy="0"/>
          </a:xfrm>
          <a:prstGeom prst="line">
            <a:avLst/>
          </a:prstGeom>
          <a:noFill/>
          <a:ln w="12700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wrap="none" lIns="0" tIns="0" rIns="0" bIns="0"/>
          <a:lstStyle/>
          <a:p>
            <a:endParaRPr lang="da-DK" sz="1900" noProof="0"/>
          </a:p>
        </p:txBody>
      </p:sp>
      <p:sp>
        <p:nvSpPr>
          <p:cNvPr id="7191" name="Rectangle 23"/>
          <p:cNvSpPr>
            <a:spLocks noGrp="1" noChangeArrowheads="1"/>
          </p:cNvSpPr>
          <p:nvPr>
            <p:ph type="ftr" sz="quarter" idx="3"/>
          </p:nvPr>
        </p:nvSpPr>
        <p:spPr>
          <a:xfrm>
            <a:off x="598939" y="6416677"/>
            <a:ext cx="7991493" cy="157163"/>
          </a:xfrm>
        </p:spPr>
        <p:txBody>
          <a:bodyPr/>
          <a:lstStyle>
            <a:lvl1pPr>
              <a:defRPr/>
            </a:lvl1pPr>
          </a:lstStyle>
          <a:p>
            <a:r>
              <a:rPr lang="da-DK" noProof="0"/>
              <a:t>Tilføj titel i sidehoved / sidefod</a:t>
            </a:r>
          </a:p>
        </p:txBody>
      </p:sp>
      <p:sp>
        <p:nvSpPr>
          <p:cNvPr id="7192" name="Rectangle 24"/>
          <p:cNvSpPr>
            <a:spLocks noGrp="1" noChangeArrowheads="1"/>
          </p:cNvSpPr>
          <p:nvPr>
            <p:ph type="sldNum" sz="quarter" idx="4"/>
          </p:nvPr>
        </p:nvSpPr>
        <p:spPr>
          <a:xfrm>
            <a:off x="598939" y="6567488"/>
            <a:ext cx="2844430" cy="1397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9ABB7CC-1652-4545-8F10-899A40A8313E}" type="slidenum">
              <a:rPr lang="da-DK" noProof="0"/>
              <a:pPr/>
              <a:t>‹nr.›</a:t>
            </a:fld>
            <a:endParaRPr lang="da-DK" noProof="0"/>
          </a:p>
        </p:txBody>
      </p:sp>
      <p:sp>
        <p:nvSpPr>
          <p:cNvPr id="7193" name="Rectangle 25"/>
          <p:cNvSpPr>
            <a:spLocks noGrp="1" noChangeArrowheads="1"/>
          </p:cNvSpPr>
          <p:nvPr>
            <p:ph type="dt" sz="half" idx="2"/>
          </p:nvPr>
        </p:nvSpPr>
        <p:spPr>
          <a:xfrm>
            <a:off x="598939" y="6270625"/>
            <a:ext cx="2844430" cy="139700"/>
          </a:xfrm>
        </p:spPr>
        <p:txBody>
          <a:bodyPr/>
          <a:lstStyle>
            <a:lvl1pPr>
              <a:defRPr/>
            </a:lvl1pPr>
          </a:lstStyle>
          <a:p>
            <a:fld id="{D26E1430-FBAF-4DFD-8CA0-FF945EADC3E2}" type="datetime2">
              <a:rPr lang="da-DK" noProof="0" smtClean="0"/>
              <a:t>5. september 2018</a:t>
            </a:fld>
            <a:endParaRPr lang="da-DK" noProof="0" dirty="0"/>
          </a:p>
        </p:txBody>
      </p:sp>
      <p:sp>
        <p:nvSpPr>
          <p:cNvPr id="19" name="Text Box 5"/>
          <p:cNvSpPr txBox="1">
            <a:spLocks noChangeArrowheads="1"/>
          </p:cNvSpPr>
          <p:nvPr userDrawn="1"/>
        </p:nvSpPr>
        <p:spPr bwMode="auto">
          <a:xfrm>
            <a:off x="-2275808" y="1938338"/>
            <a:ext cx="2034540" cy="2154436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r"/>
            <a:r>
              <a:rPr lang="da-DK" sz="1000" b="1" noProof="1">
                <a:solidFill>
                  <a:schemeClr val="bg1">
                    <a:lumMod val="50000"/>
                  </a:schemeClr>
                </a:solidFill>
              </a:rPr>
              <a:t>Skift baggrundsfarve </a:t>
            </a:r>
            <a:br>
              <a:rPr lang="da-DK" sz="1000" b="1" noProof="1">
                <a:solidFill>
                  <a:schemeClr val="bg1">
                    <a:lumMod val="50000"/>
                  </a:schemeClr>
                </a:solidFill>
              </a:rPr>
            </a:br>
            <a:r>
              <a:rPr lang="da-DK" sz="1000" b="1" noProof="1">
                <a:solidFill>
                  <a:schemeClr val="bg1">
                    <a:lumMod val="50000"/>
                  </a:schemeClr>
                </a:solidFill>
              </a:rPr>
              <a:t>på slidet</a:t>
            </a:r>
            <a:r>
              <a:rPr lang="da-DK" sz="1000" noProof="1">
                <a:solidFill>
                  <a:schemeClr val="bg1">
                    <a:lumMod val="50000"/>
                  </a:schemeClr>
                </a:solidFill>
              </a:rPr>
              <a:t>:</a:t>
            </a:r>
            <a:br>
              <a:rPr lang="da-DK" sz="1000" noProof="1">
                <a:solidFill>
                  <a:schemeClr val="bg1">
                    <a:lumMod val="50000"/>
                  </a:schemeClr>
                </a:solidFill>
              </a:rPr>
            </a:br>
            <a:r>
              <a:rPr lang="da-DK" sz="1000" noProof="1">
                <a:solidFill>
                  <a:schemeClr val="bg1">
                    <a:lumMod val="50000"/>
                  </a:schemeClr>
                </a:solidFill>
              </a:rPr>
              <a:t>1. Gå</a:t>
            </a:r>
            <a:r>
              <a:rPr lang="da-DK" sz="1000" baseline="0" noProof="1">
                <a:solidFill>
                  <a:schemeClr val="bg1">
                    <a:lumMod val="50000"/>
                  </a:schemeClr>
                </a:solidFill>
              </a:rPr>
              <a:t> til Design / Farver</a:t>
            </a:r>
            <a:br>
              <a:rPr lang="da-DK" sz="1000" baseline="0" noProof="1">
                <a:solidFill>
                  <a:schemeClr val="bg1">
                    <a:lumMod val="50000"/>
                  </a:schemeClr>
                </a:solidFill>
              </a:rPr>
            </a:br>
            <a:r>
              <a:rPr lang="da-DK" sz="1000" baseline="0" noProof="1">
                <a:solidFill>
                  <a:schemeClr val="bg1">
                    <a:lumMod val="50000"/>
                  </a:schemeClr>
                </a:solidFill>
              </a:rPr>
              <a:t> i Topmenuen</a:t>
            </a:r>
          </a:p>
          <a:p>
            <a:pPr algn="r"/>
            <a:r>
              <a:rPr lang="da-DK" sz="1000" baseline="0" noProof="1">
                <a:solidFill>
                  <a:schemeClr val="bg1">
                    <a:lumMod val="50000"/>
                  </a:schemeClr>
                </a:solidFill>
              </a:rPr>
              <a:t>2. Højreklik på en af de </a:t>
            </a:r>
            <a:br>
              <a:rPr lang="da-DK" sz="1000" baseline="0" noProof="1">
                <a:solidFill>
                  <a:schemeClr val="bg1">
                    <a:lumMod val="50000"/>
                  </a:schemeClr>
                </a:solidFill>
              </a:rPr>
            </a:br>
            <a:r>
              <a:rPr lang="da-DK" sz="1000" baseline="0" noProof="1">
                <a:solidFill>
                  <a:schemeClr val="bg1">
                    <a:lumMod val="50000"/>
                  </a:schemeClr>
                </a:solidFill>
              </a:rPr>
              <a:t>16 farver</a:t>
            </a:r>
          </a:p>
          <a:p>
            <a:pPr algn="r"/>
            <a:r>
              <a:rPr lang="da-DK" sz="1000" baseline="0" noProof="1">
                <a:solidFill>
                  <a:schemeClr val="bg1">
                    <a:lumMod val="50000"/>
                  </a:schemeClr>
                </a:solidFill>
              </a:rPr>
              <a:t>3. Vælg ’Applicér på valgt slide’</a:t>
            </a:r>
          </a:p>
          <a:p>
            <a:pPr algn="r"/>
            <a:endParaRPr lang="da-DK" sz="1000" baseline="0" noProof="1">
              <a:solidFill>
                <a:schemeClr val="bg1">
                  <a:lumMod val="50000"/>
                </a:schemeClr>
              </a:solidFill>
            </a:endParaRPr>
          </a:p>
          <a:p>
            <a:pPr algn="r"/>
            <a:endParaRPr lang="da-DK" sz="1000" baseline="0" noProof="1">
              <a:solidFill>
                <a:schemeClr val="bg1">
                  <a:lumMod val="50000"/>
                </a:schemeClr>
              </a:solidFill>
            </a:endParaRPr>
          </a:p>
          <a:p>
            <a:pPr algn="r"/>
            <a:r>
              <a:rPr lang="da-DK" sz="1000" b="1" noProof="1">
                <a:solidFill>
                  <a:schemeClr val="bg1">
                    <a:lumMod val="50000"/>
                  </a:schemeClr>
                </a:solidFill>
              </a:rPr>
              <a:t>Skift baggrundsfarve </a:t>
            </a:r>
            <a:br>
              <a:rPr lang="da-DK" sz="1000" b="1" noProof="1">
                <a:solidFill>
                  <a:schemeClr val="bg1">
                    <a:lumMod val="50000"/>
                  </a:schemeClr>
                </a:solidFill>
              </a:rPr>
            </a:br>
            <a:r>
              <a:rPr lang="da-DK" sz="1000" b="1" noProof="1">
                <a:solidFill>
                  <a:schemeClr val="bg1">
                    <a:lumMod val="50000"/>
                  </a:schemeClr>
                </a:solidFill>
              </a:rPr>
              <a:t>hele i præsentationen</a:t>
            </a:r>
            <a:r>
              <a:rPr lang="da-DK" sz="1000" noProof="1">
                <a:solidFill>
                  <a:schemeClr val="bg1">
                    <a:lumMod val="50000"/>
                  </a:schemeClr>
                </a:solidFill>
              </a:rPr>
              <a:t>:</a:t>
            </a:r>
            <a:br>
              <a:rPr lang="da-DK" sz="1000" noProof="1">
                <a:solidFill>
                  <a:schemeClr val="bg1">
                    <a:lumMod val="50000"/>
                  </a:schemeClr>
                </a:solidFill>
              </a:rPr>
            </a:br>
            <a:r>
              <a:rPr lang="da-DK" sz="1000" noProof="1">
                <a:solidFill>
                  <a:schemeClr val="bg1">
                    <a:lumMod val="50000"/>
                  </a:schemeClr>
                </a:solidFill>
              </a:rPr>
              <a:t>1. Gå</a:t>
            </a:r>
            <a:r>
              <a:rPr lang="da-DK" sz="1000" baseline="0" noProof="1">
                <a:solidFill>
                  <a:schemeClr val="bg1">
                    <a:lumMod val="50000"/>
                  </a:schemeClr>
                </a:solidFill>
              </a:rPr>
              <a:t> til Design / Farver</a:t>
            </a:r>
            <a:br>
              <a:rPr lang="da-DK" sz="1000" baseline="0" noProof="1">
                <a:solidFill>
                  <a:schemeClr val="bg1">
                    <a:lumMod val="50000"/>
                  </a:schemeClr>
                </a:solidFill>
              </a:rPr>
            </a:br>
            <a:r>
              <a:rPr lang="da-DK" sz="1000" baseline="0" noProof="1">
                <a:solidFill>
                  <a:schemeClr val="bg1">
                    <a:lumMod val="50000"/>
                  </a:schemeClr>
                </a:solidFill>
              </a:rPr>
              <a:t> i Topmenuen</a:t>
            </a:r>
          </a:p>
          <a:p>
            <a:pPr algn="r"/>
            <a:r>
              <a:rPr lang="da-DK" sz="1000" baseline="0" noProof="1">
                <a:solidFill>
                  <a:schemeClr val="bg1">
                    <a:lumMod val="50000"/>
                  </a:schemeClr>
                </a:solidFill>
              </a:rPr>
              <a:t>2. Vælg en af 16 farvetemaer</a:t>
            </a:r>
          </a:p>
        </p:txBody>
      </p:sp>
      <p:pic>
        <p:nvPicPr>
          <p:cNvPr id="14" name="Picture 28" descr="TDCerhverv_logo_rgb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848158" y="5905501"/>
            <a:ext cx="1800460" cy="67151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3313742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0481500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/>
        </p:nvSpPr>
        <p:spPr bwMode="auto">
          <a:xfrm>
            <a:off x="0" y="6124576"/>
            <a:ext cx="12190413" cy="733425"/>
          </a:xfrm>
          <a:prstGeom prst="rect">
            <a:avLst/>
          </a:prstGeom>
          <a:solidFill>
            <a:srgbClr val="003366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54000" rIns="72000" bIns="5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900" b="0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Verdana" pitchFamily="34" charset="0"/>
            </a:endParaRPr>
          </a:p>
        </p:txBody>
      </p:sp>
      <p:sp>
        <p:nvSpPr>
          <p:cNvPr id="1071" name="Rectangle 4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120152" y="6670800"/>
            <a:ext cx="959875" cy="139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15000"/>
              </a:lnSpc>
              <a:defRPr sz="800">
                <a:solidFill>
                  <a:schemeClr val="bg1"/>
                </a:solidFill>
              </a:defRPr>
            </a:lvl1pPr>
          </a:lstStyle>
          <a:p>
            <a:fld id="{07332735-7A3E-4A8B-8C8A-3D53BB481DD8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75658" y="188640"/>
            <a:ext cx="11047562" cy="5040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a-DK" dirty="0"/>
              <a:t>Klik for at redigere titeltypografi i master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75658" y="1196753"/>
            <a:ext cx="11047562" cy="426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dirty="0"/>
              <a:t>Klik for at redigere typografi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cxnSp>
        <p:nvCxnSpPr>
          <p:cNvPr id="14" name="Straight Connector 13"/>
          <p:cNvCxnSpPr/>
          <p:nvPr/>
        </p:nvCxnSpPr>
        <p:spPr bwMode="auto">
          <a:xfrm>
            <a:off x="575658" y="836712"/>
            <a:ext cx="11047562" cy="0"/>
          </a:xfrm>
          <a:prstGeom prst="line">
            <a:avLst/>
          </a:prstGeom>
          <a:solidFill>
            <a:schemeClr val="accent2"/>
          </a:solidFill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8" name="Picture 2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5148" y="6344217"/>
            <a:ext cx="828000" cy="3363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81411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94" r:id="rId4"/>
    <p:sldLayoutId id="2147483695" r:id="rId5"/>
  </p:sldLayoutIdLst>
  <p:hf hdr="0"/>
  <p:txStyles>
    <p:titleStyle>
      <a:lvl1pPr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Verdana" pitchFamily="34" charset="0"/>
        </a:defRPr>
      </a:lvl2pPr>
      <a:lvl3pPr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Verdana" pitchFamily="34" charset="0"/>
        </a:defRPr>
      </a:lvl3pPr>
      <a:lvl4pPr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Verdana" pitchFamily="34" charset="0"/>
        </a:defRPr>
      </a:lvl4pPr>
      <a:lvl5pPr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Verdana" pitchFamily="34" charset="0"/>
        </a:defRPr>
      </a:lvl5pPr>
      <a:lvl6pPr marL="457200"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Verdana" pitchFamily="34" charset="0"/>
        </a:defRPr>
      </a:lvl6pPr>
      <a:lvl7pPr marL="914400"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Verdana" pitchFamily="34" charset="0"/>
        </a:defRPr>
      </a:lvl7pPr>
      <a:lvl8pPr marL="1371600"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Verdana" pitchFamily="34" charset="0"/>
        </a:defRPr>
      </a:lvl8pPr>
      <a:lvl9pPr marL="1828800" algn="l" rtl="0" eaLnBrk="1" fontAlgn="base" hangingPunct="1">
        <a:lnSpc>
          <a:spcPct val="96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Verdana" pitchFamily="34" charset="0"/>
        </a:defRPr>
      </a:lvl9pPr>
    </p:titleStyle>
    <p:bodyStyle>
      <a:lvl1pPr marL="268288" indent="-268288" algn="l" rtl="0" eaLnBrk="1" fontAlgn="base" hangingPunct="1">
        <a:lnSpc>
          <a:spcPct val="105000"/>
        </a:lnSpc>
        <a:spcBef>
          <a:spcPct val="20000"/>
        </a:spcBef>
        <a:spcAft>
          <a:spcPct val="0"/>
        </a:spcAft>
        <a:buSzPct val="90000"/>
        <a:buChar char="•"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552450" indent="-282575" algn="l" rtl="0" eaLnBrk="1" fontAlgn="base" hangingPunct="1">
        <a:lnSpc>
          <a:spcPct val="105000"/>
        </a:lnSpc>
        <a:spcBef>
          <a:spcPct val="20000"/>
        </a:spcBef>
        <a:spcAft>
          <a:spcPct val="0"/>
        </a:spcAft>
        <a:buSzPct val="90000"/>
        <a:buFont typeface="Verdana" pitchFamily="34" charset="0"/>
        <a:buChar char="−"/>
        <a:defRPr sz="1400">
          <a:solidFill>
            <a:schemeClr val="tx1"/>
          </a:solidFill>
          <a:latin typeface="+mn-lt"/>
        </a:defRPr>
      </a:lvl2pPr>
      <a:lvl3pPr marL="831850" indent="-277813" algn="l" rtl="0" eaLnBrk="1" fontAlgn="base" hangingPunct="1">
        <a:lnSpc>
          <a:spcPct val="105000"/>
        </a:lnSpc>
        <a:spcBef>
          <a:spcPct val="20000"/>
        </a:spcBef>
        <a:spcAft>
          <a:spcPct val="0"/>
        </a:spcAft>
        <a:buSzPct val="90000"/>
        <a:buFont typeface="Verdana" pitchFamily="34" charset="0"/>
        <a:buChar char="−"/>
        <a:defRPr sz="1400">
          <a:solidFill>
            <a:schemeClr val="tx1"/>
          </a:solidFill>
          <a:latin typeface="+mn-lt"/>
        </a:defRPr>
      </a:lvl3pPr>
      <a:lvl4pPr marL="1111250" indent="-277813" algn="l" rtl="0" eaLnBrk="1" fontAlgn="base" hangingPunct="1">
        <a:lnSpc>
          <a:spcPct val="105000"/>
        </a:lnSpc>
        <a:spcBef>
          <a:spcPct val="20000"/>
        </a:spcBef>
        <a:spcAft>
          <a:spcPct val="0"/>
        </a:spcAft>
        <a:buSzPct val="90000"/>
        <a:buFont typeface="Verdana" pitchFamily="34" charset="0"/>
        <a:buChar char="−"/>
        <a:defRPr sz="1400">
          <a:solidFill>
            <a:schemeClr val="tx1"/>
          </a:solidFill>
          <a:latin typeface="+mn-lt"/>
        </a:defRPr>
      </a:lvl4pPr>
      <a:lvl5pPr marL="1384300" indent="-271463" algn="l" rtl="0" eaLnBrk="1" fontAlgn="base" hangingPunct="1">
        <a:lnSpc>
          <a:spcPct val="105000"/>
        </a:lnSpc>
        <a:spcBef>
          <a:spcPct val="20000"/>
        </a:spcBef>
        <a:spcAft>
          <a:spcPct val="0"/>
        </a:spcAft>
        <a:buSzPct val="90000"/>
        <a:buFont typeface="Verdana" pitchFamily="34" charset="0"/>
        <a:buChar char="−"/>
        <a:defRPr sz="1400">
          <a:solidFill>
            <a:schemeClr val="tx1"/>
          </a:solidFill>
          <a:latin typeface="+mn-lt"/>
        </a:defRPr>
      </a:lvl5pPr>
      <a:lvl6pPr marL="1841500" indent="-271463" algn="l" rtl="0" eaLnBrk="1" fontAlgn="base" hangingPunct="1">
        <a:lnSpc>
          <a:spcPct val="105000"/>
        </a:lnSpc>
        <a:spcBef>
          <a:spcPct val="20000"/>
        </a:spcBef>
        <a:spcAft>
          <a:spcPct val="0"/>
        </a:spcAft>
        <a:buSzPct val="90000"/>
        <a:buChar char="•"/>
        <a:defRPr sz="1900">
          <a:solidFill>
            <a:schemeClr val="tx1"/>
          </a:solidFill>
          <a:latin typeface="+mn-lt"/>
        </a:defRPr>
      </a:lvl6pPr>
      <a:lvl7pPr marL="2298700" indent="-271463" algn="l" rtl="0" eaLnBrk="1" fontAlgn="base" hangingPunct="1">
        <a:lnSpc>
          <a:spcPct val="105000"/>
        </a:lnSpc>
        <a:spcBef>
          <a:spcPct val="20000"/>
        </a:spcBef>
        <a:spcAft>
          <a:spcPct val="0"/>
        </a:spcAft>
        <a:buSzPct val="90000"/>
        <a:buChar char="•"/>
        <a:defRPr sz="1900">
          <a:solidFill>
            <a:schemeClr val="tx1"/>
          </a:solidFill>
          <a:latin typeface="+mn-lt"/>
        </a:defRPr>
      </a:lvl7pPr>
      <a:lvl8pPr marL="2755900" indent="-271463" algn="l" rtl="0" eaLnBrk="1" fontAlgn="base" hangingPunct="1">
        <a:lnSpc>
          <a:spcPct val="105000"/>
        </a:lnSpc>
        <a:spcBef>
          <a:spcPct val="20000"/>
        </a:spcBef>
        <a:spcAft>
          <a:spcPct val="0"/>
        </a:spcAft>
        <a:buSzPct val="90000"/>
        <a:buChar char="•"/>
        <a:defRPr sz="1900">
          <a:solidFill>
            <a:schemeClr val="tx1"/>
          </a:solidFill>
          <a:latin typeface="+mn-lt"/>
        </a:defRPr>
      </a:lvl8pPr>
      <a:lvl9pPr marL="3213100" indent="-271463" algn="l" rtl="0" eaLnBrk="1" fontAlgn="base" hangingPunct="1">
        <a:lnSpc>
          <a:spcPct val="105000"/>
        </a:lnSpc>
        <a:spcBef>
          <a:spcPct val="20000"/>
        </a:spcBef>
        <a:spcAft>
          <a:spcPct val="0"/>
        </a:spcAft>
        <a:buSzPct val="90000"/>
        <a:buChar char="•"/>
        <a:defRPr sz="19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://194.182.251.46/dataRoaming/status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3" Type="http://schemas.openxmlformats.org/officeDocument/2006/relationships/slideLayout" Target="../slideLayouts/slideLayout3.xml"/><Relationship Id="rId7" Type="http://schemas.openxmlformats.org/officeDocument/2006/relationships/diagramData" Target="../diagrams/data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11" Type="http://schemas.microsoft.com/office/2007/relationships/diagramDrawing" Target="../diagrams/drawing1.xml"/><Relationship Id="rId5" Type="http://schemas.openxmlformats.org/officeDocument/2006/relationships/oleObject" Target="../embeddings/oleObject4.bin"/><Relationship Id="rId10" Type="http://schemas.openxmlformats.org/officeDocument/2006/relationships/diagramColors" Target="../diagrams/colors1.xml"/><Relationship Id="rId4" Type="http://schemas.openxmlformats.org/officeDocument/2006/relationships/notesSlide" Target="../notesSlides/notesSlide5.xml"/><Relationship Id="rId9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slideLayout" Target="../slideLayouts/slideLayout3.xml"/><Relationship Id="rId7" Type="http://schemas.openxmlformats.org/officeDocument/2006/relationships/diagramData" Target="../diagrams/data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11" Type="http://schemas.microsoft.com/office/2007/relationships/diagramDrawing" Target="../diagrams/drawing2.xml"/><Relationship Id="rId5" Type="http://schemas.openxmlformats.org/officeDocument/2006/relationships/oleObject" Target="../embeddings/oleObject5.bin"/><Relationship Id="rId10" Type="http://schemas.openxmlformats.org/officeDocument/2006/relationships/diagramColors" Target="../diagrams/colors2.xml"/><Relationship Id="rId4" Type="http://schemas.openxmlformats.org/officeDocument/2006/relationships/notesSlide" Target="../notesSlides/notesSlide6.xml"/><Relationship Id="rId9" Type="http://schemas.openxmlformats.org/officeDocument/2006/relationships/diagramQuickStyle" Target="../diagrams/quickStyl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339AE8-7F91-4291-AF83-F1ECE14F4B6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DE5D0BE-0EFE-415D-9339-9DCC3CB55F5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B16260A-0D41-4799-8E38-9D77CB47331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9ABB7CC-1652-4545-8F10-899A40A8313E}" type="slidenum">
              <a:rPr lang="da-DK" noProof="0" smtClean="0"/>
              <a:pPr/>
              <a:t>1</a:t>
            </a:fld>
            <a:endParaRPr lang="da-DK" noProof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B36A0D5-39A1-4678-AAB5-43BC49131CB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795" y="0"/>
            <a:ext cx="12188824" cy="5594350"/>
          </a:xfrm>
          <a:prstGeom prst="rect">
            <a:avLst/>
          </a:prstGeom>
        </p:spPr>
      </p:pic>
      <p:sp>
        <p:nvSpPr>
          <p:cNvPr id="9" name="Rectangle 2">
            <a:extLst>
              <a:ext uri="{FF2B5EF4-FFF2-40B4-BE49-F238E27FC236}">
                <a16:creationId xmlns:a16="http://schemas.microsoft.com/office/drawing/2014/main" id="{78EF420E-321F-4098-97A1-4D16FBBB2CE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743278" y="542832"/>
            <a:ext cx="3492688" cy="3492688"/>
          </a:xfrm>
          <a:prstGeom prst="ellipse">
            <a:avLst/>
          </a:prstGeom>
          <a:solidFill>
            <a:srgbClr val="FFFFFF">
              <a:alpha val="85098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360000" rIns="0" bIns="360000" numCol="1" anchor="ctr" anchorCtr="0" compatLnSpc="1">
            <a:prstTxWarp prst="textNoShape">
              <a:avLst/>
            </a:prstTxWarp>
            <a:normAutofit fontScale="97500"/>
          </a:bodyPr>
          <a:lstStyle>
            <a:lvl1pPr algn="ctr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Verdana" pitchFamily="34" charset="0"/>
              </a:defRPr>
            </a:lvl2pPr>
            <a:lvl3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Verdana" pitchFamily="34" charset="0"/>
              </a:defRPr>
            </a:lvl3pPr>
            <a:lvl4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Verdana" pitchFamily="34" charset="0"/>
              </a:defRPr>
            </a:lvl4pPr>
            <a:lvl5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Verdana" pitchFamily="34" charset="0"/>
              </a:defRPr>
            </a:lvl5pPr>
            <a:lvl6pPr marL="4572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Verdana" pitchFamily="34" charset="0"/>
              </a:defRPr>
            </a:lvl6pPr>
            <a:lvl7pPr marL="9144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Verdana" pitchFamily="34" charset="0"/>
              </a:defRPr>
            </a:lvl7pPr>
            <a:lvl8pPr marL="13716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Verdana" pitchFamily="34" charset="0"/>
              </a:defRPr>
            </a:lvl8pPr>
            <a:lvl9pPr marL="18288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r>
              <a:rPr lang="en-GB" sz="1800" kern="0" dirty="0"/>
              <a:t>SKI 50.48</a:t>
            </a:r>
            <a:br>
              <a:rPr lang="en-GB" kern="0" dirty="0"/>
            </a:br>
            <a:br>
              <a:rPr lang="en-GB" kern="0" dirty="0"/>
            </a:br>
            <a:r>
              <a:rPr lang="da-DK" b="0" kern="0" dirty="0"/>
              <a:t>Principper for roaming</a:t>
            </a:r>
          </a:p>
        </p:txBody>
      </p:sp>
    </p:spTree>
    <p:extLst>
      <p:ext uri="{BB962C8B-B14F-4D97-AF65-F5344CB8AC3E}">
        <p14:creationId xmlns:p14="http://schemas.microsoft.com/office/powerpoint/2010/main" val="251441425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Roaming - SKI 50.48 GÆLDENDE FOR UDLANDSABONNEMENTER 6,7 og 8</a:t>
            </a:r>
            <a:br>
              <a:rPr lang="da-DK" sz="1000" dirty="0"/>
            </a:br>
            <a:endParaRPr lang="da-DK" sz="1000" dirty="0"/>
          </a:p>
        </p:txBody>
      </p:sp>
      <p:sp>
        <p:nvSpPr>
          <p:cNvPr id="7" name="Rektangel 6"/>
          <p:cNvSpPr/>
          <p:nvPr/>
        </p:nvSpPr>
        <p:spPr>
          <a:xfrm>
            <a:off x="536493" y="5810182"/>
            <a:ext cx="9861590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a-DK" sz="900" dirty="0">
                <a:solidFill>
                  <a:schemeClr val="bg1"/>
                </a:solidFill>
              </a:rPr>
              <a:t> </a:t>
            </a:r>
          </a:p>
        </p:txBody>
      </p:sp>
      <p:graphicFrame>
        <p:nvGraphicFramePr>
          <p:cNvPr id="9" name="Tabel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864962"/>
              </p:ext>
            </p:extLst>
          </p:nvPr>
        </p:nvGraphicFramePr>
        <p:xfrm>
          <a:off x="576263" y="1484784"/>
          <a:ext cx="11074215" cy="3393440"/>
        </p:xfrm>
        <a:graphic>
          <a:graphicData uri="http://schemas.openxmlformats.org/drawingml/2006/table">
            <a:tbl>
              <a:tblPr firstRow="1" bandRow="1">
                <a:tableStyleId>{5DA37D80-6434-44D0-A028-1B22A696006F}</a:tableStyleId>
              </a:tblPr>
              <a:tblGrid>
                <a:gridCol w="1905173">
                  <a:extLst>
                    <a:ext uri="{9D8B030D-6E8A-4147-A177-3AD203B41FA5}">
                      <a16:colId xmlns:a16="http://schemas.microsoft.com/office/drawing/2014/main" val="2661196262"/>
                    </a:ext>
                  </a:extLst>
                </a:gridCol>
                <a:gridCol w="4117826">
                  <a:extLst>
                    <a:ext uri="{9D8B030D-6E8A-4147-A177-3AD203B41FA5}">
                      <a16:colId xmlns:a16="http://schemas.microsoft.com/office/drawing/2014/main" val="3266646272"/>
                    </a:ext>
                  </a:extLst>
                </a:gridCol>
                <a:gridCol w="5051216">
                  <a:extLst>
                    <a:ext uri="{9D8B030D-6E8A-4147-A177-3AD203B41FA5}">
                      <a16:colId xmlns:a16="http://schemas.microsoft.com/office/drawing/2014/main" val="85249451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da-DK" sz="900" b="1" i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900" dirty="0"/>
                        <a:t>Indenfor EU</a:t>
                      </a:r>
                      <a:endParaRPr lang="da-DK" sz="900" b="1" i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900" b="1" i="0" dirty="0"/>
                        <a:t>Resten af verd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3513409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sz="900" dirty="0"/>
                        <a:t>Priser – Tale og SMS</a:t>
                      </a:r>
                    </a:p>
                    <a:p>
                      <a:endParaRPr lang="da-DK" sz="900" b="1" i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900" i="0" dirty="0"/>
                        <a:t>Fri tale og fri SM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900" i="0" dirty="0"/>
                        <a:t>SKI 50.48 specifikke priser.</a:t>
                      </a:r>
                    </a:p>
                    <a:p>
                      <a:r>
                        <a:rPr lang="da-DK" sz="900" i="0" dirty="0"/>
                        <a:t>Priser er angivet på ski.dk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079947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sz="900" dirty="0"/>
                        <a:t>Priser - Data</a:t>
                      </a:r>
                      <a:endParaRPr lang="da-DK" sz="900" b="0" i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900" i="0" dirty="0"/>
                        <a:t>Fri data op til abonnementets Fair </a:t>
                      </a:r>
                      <a:r>
                        <a:rPr lang="da-DK" sz="900" i="0" dirty="0" err="1"/>
                        <a:t>Use</a:t>
                      </a:r>
                      <a:r>
                        <a:rPr lang="da-DK" sz="900" i="0" dirty="0"/>
                        <a:t> Limit</a:t>
                      </a:r>
                    </a:p>
                    <a:p>
                      <a:r>
                        <a:rPr lang="da-DK" sz="900" i="0" dirty="0"/>
                        <a:t>Forbrug ud over Fair </a:t>
                      </a:r>
                      <a:r>
                        <a:rPr lang="da-DK" sz="900" i="0" dirty="0" err="1"/>
                        <a:t>Use</a:t>
                      </a:r>
                      <a:r>
                        <a:rPr lang="da-DK" sz="900" i="0" dirty="0"/>
                        <a:t> Limit takser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900" i="0" dirty="0"/>
                        <a:t>SKI 50.48 specifikke priser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i="0" dirty="0"/>
                        <a:t>Priser er angivet på ski.dk.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i="0" dirty="0"/>
                        <a:t>Priserne angivet under fanen ”Mobil Bredbånd” gælder også for </a:t>
                      </a:r>
                      <a:r>
                        <a:rPr lang="da-DK" sz="900" i="0" dirty="0" err="1"/>
                        <a:t>voice</a:t>
                      </a:r>
                      <a:r>
                        <a:rPr lang="da-DK" sz="900" i="0" dirty="0"/>
                        <a:t> abonnementerne 6, 7 og 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44360035"/>
                  </a:ext>
                </a:extLst>
              </a:tr>
              <a:tr h="34256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b="0" i="0" dirty="0"/>
                        <a:t>Velkomst SMS tale/SMS</a:t>
                      </a:r>
                    </a:p>
                    <a:p>
                      <a:endParaRPr lang="da-DK" sz="700" b="0" i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9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denfor EU: fx Sverige:</a:t>
                      </a:r>
                    </a:p>
                    <a:p>
                      <a:r>
                        <a:rPr lang="da-DK" sz="9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  <a:p>
                      <a:r>
                        <a:rPr lang="da-DK" sz="900" i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ære Kunde. </a:t>
                      </a:r>
                      <a:endParaRPr lang="da-DK" sz="9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da-DK" sz="900" i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endParaRPr lang="da-DK" sz="9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da-DK" sz="900" i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elkommen til Sverige. Maks priser du kan komme til at betale når du </a:t>
                      </a:r>
                      <a:r>
                        <a:rPr lang="da-DK" sz="900" i="1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oamer</a:t>
                      </a:r>
                      <a:r>
                        <a:rPr lang="da-DK" sz="900" i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i EU:</a:t>
                      </a:r>
                      <a:endParaRPr lang="da-DK" sz="9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da-DK" sz="900" i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oretaget opkald: Samme som når du er hjemme.</a:t>
                      </a:r>
                      <a:endParaRPr lang="da-DK" sz="9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da-DK" sz="900" i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odtaget opkald: Det koster ikke noget at modtage opkald i EU. </a:t>
                      </a:r>
                      <a:endParaRPr lang="da-DK" sz="9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da-DK" sz="900" i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MS: Samme som når du er hjemme.</a:t>
                      </a:r>
                      <a:endParaRPr lang="da-DK" sz="9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da-DK" sz="900" i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ødopkald er gratis (112 i EU). Du kan få oplyst priser gratis på +4546959695. </a:t>
                      </a:r>
                      <a:endParaRPr lang="da-DK" sz="9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da-DK" sz="900" i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nne sms kan afmeldes ved at svare Prisstop på denne SMS. </a:t>
                      </a:r>
                      <a:r>
                        <a:rPr lang="da-DK" sz="900" i="1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h</a:t>
                      </a:r>
                      <a:r>
                        <a:rPr lang="da-DK" sz="900" i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 TDC</a:t>
                      </a:r>
                      <a:endParaRPr lang="da-DK" sz="9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da-DK" sz="900" i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r>
                        <a:rPr lang="da-DK" sz="9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i="0" dirty="0"/>
                        <a:t>Der udsendes velkomst SMS, som beklageligvis indeholder forkerte priser lige nu. Men der faktureres korrekt, selvom der optræder forkerte priser i </a:t>
                      </a:r>
                      <a:r>
                        <a:rPr lang="da-DK" sz="900" i="0" dirty="0" err="1"/>
                        <a:t>SMS’en</a:t>
                      </a:r>
                      <a:r>
                        <a:rPr lang="da-DK" sz="900" i="0" dirty="0"/>
                        <a:t>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53619875"/>
                  </a:ext>
                </a:extLst>
              </a:tr>
            </a:tbl>
          </a:graphicData>
        </a:graphic>
      </p:graphicFrame>
      <p:sp>
        <p:nvSpPr>
          <p:cNvPr id="5" name="Tekstfelt 4">
            <a:extLst>
              <a:ext uri="{FF2B5EF4-FFF2-40B4-BE49-F238E27FC236}">
                <a16:creationId xmlns:a16="http://schemas.microsoft.com/office/drawing/2014/main" id="{11129D8A-C3EF-41F5-BC5C-9D243ED2DA1E}"/>
              </a:ext>
            </a:extLst>
          </p:cNvPr>
          <p:cNvSpPr txBox="1"/>
          <p:nvPr/>
        </p:nvSpPr>
        <p:spPr>
          <a:xfrm>
            <a:off x="576263" y="6237312"/>
            <a:ext cx="638303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800" i="1" dirty="0">
                <a:solidFill>
                  <a:schemeClr val="bg1"/>
                </a:solidFill>
              </a:rPr>
              <a:t>Der tages forbehold for ændringer og fejl</a:t>
            </a: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4577A081-0A21-4F4F-877B-8FAD719F7A04}"/>
              </a:ext>
            </a:extLst>
          </p:cNvPr>
          <p:cNvSpPr/>
          <p:nvPr/>
        </p:nvSpPr>
        <p:spPr>
          <a:xfrm>
            <a:off x="478582" y="901898"/>
            <a:ext cx="1022513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a-DK" sz="1400" b="1" i="1" kern="0" dirty="0"/>
              <a:t>Principper for anvendelse af telefonen i udlandet</a:t>
            </a:r>
          </a:p>
        </p:txBody>
      </p:sp>
    </p:spTree>
    <p:extLst>
      <p:ext uri="{BB962C8B-B14F-4D97-AF65-F5344CB8AC3E}">
        <p14:creationId xmlns:p14="http://schemas.microsoft.com/office/powerpoint/2010/main" val="112676160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Roaming - SKI 50.48 GÆLDENDE FOR UDLANDSABONNEMENTER 6,7 og 8</a:t>
            </a:r>
            <a:br>
              <a:rPr lang="da-DK" sz="1000" dirty="0"/>
            </a:br>
            <a:endParaRPr lang="da-DK" sz="1000" dirty="0"/>
          </a:p>
        </p:txBody>
      </p:sp>
      <p:sp>
        <p:nvSpPr>
          <p:cNvPr id="7" name="Rektangel 6"/>
          <p:cNvSpPr/>
          <p:nvPr/>
        </p:nvSpPr>
        <p:spPr>
          <a:xfrm>
            <a:off x="536493" y="5810182"/>
            <a:ext cx="9861590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a-DK" sz="900" dirty="0">
                <a:solidFill>
                  <a:schemeClr val="bg1"/>
                </a:solidFill>
              </a:rPr>
              <a:t> </a:t>
            </a:r>
          </a:p>
        </p:txBody>
      </p:sp>
      <p:graphicFrame>
        <p:nvGraphicFramePr>
          <p:cNvPr id="9" name="Tabel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12070531"/>
              </p:ext>
            </p:extLst>
          </p:nvPr>
        </p:nvGraphicFramePr>
        <p:xfrm>
          <a:off x="576263" y="1484784"/>
          <a:ext cx="11074215" cy="3911600"/>
        </p:xfrm>
        <a:graphic>
          <a:graphicData uri="http://schemas.openxmlformats.org/drawingml/2006/table">
            <a:tbl>
              <a:tblPr firstRow="1" bandRow="1">
                <a:tableStyleId>{5DA37D80-6434-44D0-A028-1B22A696006F}</a:tableStyleId>
              </a:tblPr>
              <a:tblGrid>
                <a:gridCol w="1905173">
                  <a:extLst>
                    <a:ext uri="{9D8B030D-6E8A-4147-A177-3AD203B41FA5}">
                      <a16:colId xmlns:a16="http://schemas.microsoft.com/office/drawing/2014/main" val="2661196262"/>
                    </a:ext>
                  </a:extLst>
                </a:gridCol>
                <a:gridCol w="4704240">
                  <a:extLst>
                    <a:ext uri="{9D8B030D-6E8A-4147-A177-3AD203B41FA5}">
                      <a16:colId xmlns:a16="http://schemas.microsoft.com/office/drawing/2014/main" val="3266646272"/>
                    </a:ext>
                  </a:extLst>
                </a:gridCol>
                <a:gridCol w="4464802">
                  <a:extLst>
                    <a:ext uri="{9D8B030D-6E8A-4147-A177-3AD203B41FA5}">
                      <a16:colId xmlns:a16="http://schemas.microsoft.com/office/drawing/2014/main" val="290427059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da-DK" sz="900" b="1" i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900" dirty="0"/>
                        <a:t>Indenfor EU</a:t>
                      </a:r>
                      <a:endParaRPr lang="da-DK" sz="900" b="1" i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900" b="1" i="0" dirty="0"/>
                        <a:t>Resten af verd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3513409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sz="900" b="0" i="0" dirty="0"/>
                        <a:t>Velkomst SMS dat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i="0" dirty="0">
                          <a:solidFill>
                            <a:schemeClr val="tx1"/>
                          </a:solidFill>
                        </a:rPr>
                        <a:t>Der udsendes en velkomst SMS, som indeholder sidste års FUL pris, men der faktureres korrekt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900" i="0" dirty="0">
                          <a:solidFill>
                            <a:schemeClr val="tx1"/>
                          </a:solidFill>
                        </a:rPr>
                        <a:t>Der udsendes en velkomst SMS, som indeholder de rigtige priser.</a:t>
                      </a:r>
                      <a:endParaRPr lang="da-DK" sz="900" i="0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566263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sz="900" b="0" i="0" dirty="0"/>
                        <a:t>Varsling - Dataforbrug</a:t>
                      </a: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i="0" dirty="0">
                          <a:solidFill>
                            <a:schemeClr val="tx1"/>
                          </a:solidFill>
                        </a:rPr>
                        <a:t>Der udsendes en varsling, når de er forbrugt 100% i forhold til abonnementets datagrænse.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 sz="900" i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2273701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sz="900" b="0" i="0" dirty="0"/>
                        <a:t>Datagrænse</a:t>
                      </a: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i="0" dirty="0"/>
                        <a:t>DKK 360,-</a:t>
                      </a:r>
                      <a:br>
                        <a:rPr lang="da-DK" sz="900" i="0" dirty="0"/>
                      </a:br>
                      <a:r>
                        <a:rPr lang="da-DK" sz="900" i="0" dirty="0"/>
                        <a:t>Grænsen kan ændres.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 sz="900" i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4036116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b="0" i="0" dirty="0"/>
                        <a:t>Forbrug ud over datagrænsen</a:t>
                      </a:r>
                    </a:p>
                    <a:p>
                      <a:endParaRPr lang="da-DK" sz="900" b="0" i="0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i="0" dirty="0"/>
                        <a:t>Brugeren varsles via SMS og kan vælge at øge sit forbrug med yderligere DKK 360,-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i="0" dirty="0"/>
                        <a:t>Der er ikke en øvre grænse for, hvor mange gange brugeren kan sige ja til at øge med DKK 360,- 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 sz="900" i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9035169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sz="900" b="0" i="0" dirty="0"/>
                        <a:t>Speed dro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i="0" dirty="0"/>
                        <a:t>Der speed droppes, når datapakken er opbrugt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i="0" dirty="0"/>
                        <a:t>Hvis man f.eks. har abonnement nr. 6 med 10 GB data og heraf 2 GB Fair </a:t>
                      </a:r>
                      <a:r>
                        <a:rPr lang="da-DK" sz="900" i="0" dirty="0" err="1"/>
                        <a:t>Use</a:t>
                      </a:r>
                      <a:r>
                        <a:rPr lang="da-DK" sz="900" i="0" dirty="0"/>
                        <a:t>, så vil speeddrop først træde i kraft, når de 10 GB er brugt. Dvs. man kan forbruge data up til der samlet (nationalt + EU) er forbrugt 10 Gb, før der speeddroppes.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i="0" dirty="0"/>
                        <a:t>Det der bruges over 2 Gb i EU vil blive takseret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900" i="0" dirty="0"/>
                        <a:t>I resten af verden vil der være taksering på alt dataforbrug</a:t>
                      </a:r>
                    </a:p>
                    <a:p>
                      <a:r>
                        <a:rPr lang="da-DK" sz="900" i="0" dirty="0"/>
                        <a:t>(her er datapakken ikke aktuel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706127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sz="900" b="0" i="0" dirty="0"/>
                        <a:t>Ændring af datagrænse</a:t>
                      </a: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i="0" dirty="0"/>
                        <a:t>I kan ændre datagrænse i TDC Selvbetjening Erhverv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 sz="900" i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233615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sz="900" b="0" i="0" dirty="0"/>
                        <a:t>Roaming page</a:t>
                      </a: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da-DK" sz="9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rugeren kan se sit dataforbrug på en roaming page. Oplysningerne på denne side er korrekte. Brugeren vil også kunne se FUL og datalimit. </a:t>
                      </a:r>
                    </a:p>
                    <a:p>
                      <a:r>
                        <a:rPr lang="da-DK" sz="9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den kan kun nås via brugerens telefon på dette link.</a:t>
                      </a:r>
                    </a:p>
                    <a:p>
                      <a:r>
                        <a:rPr lang="da-DK" sz="9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  <a:p>
                      <a:r>
                        <a:rPr lang="da-DK" sz="900" u="sng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3"/>
                        </a:rPr>
                        <a:t>http://194.182.251.46/dataRoaming/status</a:t>
                      </a:r>
                      <a:r>
                        <a:rPr lang="da-DK" sz="9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lang="da-DK" sz="90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ifi</a:t>
                      </a:r>
                      <a:r>
                        <a:rPr lang="da-DK" sz="9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kal være slået fra for at tilgå siden)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a-DK" sz="900" i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73033335"/>
                  </a:ext>
                </a:extLst>
              </a:tr>
            </a:tbl>
          </a:graphicData>
        </a:graphic>
      </p:graphicFrame>
      <p:sp>
        <p:nvSpPr>
          <p:cNvPr id="2" name="Tekstfelt 1">
            <a:extLst>
              <a:ext uri="{FF2B5EF4-FFF2-40B4-BE49-F238E27FC236}">
                <a16:creationId xmlns:a16="http://schemas.microsoft.com/office/drawing/2014/main" id="{BFEB4EA1-BB87-4F88-BB8E-F12FA1D10947}"/>
              </a:ext>
            </a:extLst>
          </p:cNvPr>
          <p:cNvSpPr txBox="1"/>
          <p:nvPr/>
        </p:nvSpPr>
        <p:spPr>
          <a:xfrm>
            <a:off x="576263" y="6237312"/>
            <a:ext cx="638303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800" i="1" dirty="0">
                <a:solidFill>
                  <a:schemeClr val="bg1"/>
                </a:solidFill>
              </a:rPr>
              <a:t>Der tages forbehold for ændringer og fejl</a:t>
            </a: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C4A98B3B-E2EA-494A-8038-5A979307987A}"/>
              </a:ext>
            </a:extLst>
          </p:cNvPr>
          <p:cNvSpPr/>
          <p:nvPr/>
        </p:nvSpPr>
        <p:spPr>
          <a:xfrm>
            <a:off x="478582" y="901898"/>
            <a:ext cx="1022513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a-DK" sz="1400" b="1" i="1" kern="0" dirty="0"/>
              <a:t>Principper for anvendelse af telefonen i udlandet</a:t>
            </a:r>
          </a:p>
        </p:txBody>
      </p:sp>
    </p:spTree>
    <p:extLst>
      <p:ext uri="{BB962C8B-B14F-4D97-AF65-F5344CB8AC3E}">
        <p14:creationId xmlns:p14="http://schemas.microsoft.com/office/powerpoint/2010/main" val="1910945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339AE8-7F91-4291-AF83-F1ECE14F4B6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DE5D0BE-0EFE-415D-9339-9DCC3CB55F5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B16260A-0D41-4799-8E38-9D77CB47331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9ABB7CC-1652-4545-8F10-899A40A8313E}" type="slidenum">
              <a:rPr lang="da-DK" noProof="0" smtClean="0"/>
              <a:pPr/>
              <a:t>4</a:t>
            </a:fld>
            <a:endParaRPr lang="da-DK" noProof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B36A0D5-39A1-4678-AAB5-43BC49131CB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795" y="0"/>
            <a:ext cx="12188824" cy="5594350"/>
          </a:xfrm>
          <a:prstGeom prst="rect">
            <a:avLst/>
          </a:prstGeom>
        </p:spPr>
      </p:pic>
      <p:sp>
        <p:nvSpPr>
          <p:cNvPr id="9" name="Rectangle 2">
            <a:extLst>
              <a:ext uri="{FF2B5EF4-FFF2-40B4-BE49-F238E27FC236}">
                <a16:creationId xmlns:a16="http://schemas.microsoft.com/office/drawing/2014/main" id="{78EF420E-321F-4098-97A1-4D16FBBB2CE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743278" y="542832"/>
            <a:ext cx="3492688" cy="3492688"/>
          </a:xfrm>
          <a:prstGeom prst="ellipse">
            <a:avLst/>
          </a:prstGeom>
          <a:solidFill>
            <a:srgbClr val="FFFFFF">
              <a:alpha val="85098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360000" rIns="0" bIns="360000" numCol="1" anchor="ctr" anchorCtr="0" compatLnSpc="1">
            <a:prstTxWarp prst="textNoShape">
              <a:avLst/>
            </a:prstTxWarp>
            <a:normAutofit fontScale="97500"/>
          </a:bodyPr>
          <a:lstStyle>
            <a:lvl1pPr algn="ctr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Verdana" pitchFamily="34" charset="0"/>
              </a:defRPr>
            </a:lvl2pPr>
            <a:lvl3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Verdana" pitchFamily="34" charset="0"/>
              </a:defRPr>
            </a:lvl3pPr>
            <a:lvl4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Verdana" pitchFamily="34" charset="0"/>
              </a:defRPr>
            </a:lvl4pPr>
            <a:lvl5pPr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Verdana" pitchFamily="34" charset="0"/>
              </a:defRPr>
            </a:lvl5pPr>
            <a:lvl6pPr marL="4572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Verdana" pitchFamily="34" charset="0"/>
              </a:defRPr>
            </a:lvl6pPr>
            <a:lvl7pPr marL="9144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Verdana" pitchFamily="34" charset="0"/>
              </a:defRPr>
            </a:lvl7pPr>
            <a:lvl8pPr marL="13716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Verdana" pitchFamily="34" charset="0"/>
              </a:defRPr>
            </a:lvl8pPr>
            <a:lvl9pPr marL="1828800" algn="l" rtl="0" eaLnBrk="1" fontAlgn="base" hangingPunct="1">
              <a:lnSpc>
                <a:spcPct val="96000"/>
              </a:lnSpc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r>
              <a:rPr lang="en-GB" sz="1800" kern="0" dirty="0"/>
              <a:t>SKI 50.48</a:t>
            </a:r>
            <a:br>
              <a:rPr lang="en-GB" kern="0" dirty="0"/>
            </a:br>
            <a:br>
              <a:rPr lang="en-GB" kern="0" dirty="0"/>
            </a:br>
            <a:r>
              <a:rPr lang="da-DK" b="0" kern="0" dirty="0"/>
              <a:t>Scenarier for roaming</a:t>
            </a:r>
          </a:p>
        </p:txBody>
      </p:sp>
    </p:spTree>
    <p:extLst>
      <p:ext uri="{BB962C8B-B14F-4D97-AF65-F5344CB8AC3E}">
        <p14:creationId xmlns:p14="http://schemas.microsoft.com/office/powerpoint/2010/main" val="209279801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Roaming – SKI 50.48 GÆLDENDE FOR UDLANDSABONNEMENTER 6,7 og 8</a:t>
            </a:r>
          </a:p>
        </p:txBody>
      </p:sp>
      <p:graphicFrame>
        <p:nvGraphicFramePr>
          <p:cNvPr id="15" name="Diagram 14">
            <a:extLst>
              <a:ext uri="{FF2B5EF4-FFF2-40B4-BE49-F238E27FC236}">
                <a16:creationId xmlns:a16="http://schemas.microsoft.com/office/drawing/2014/main" id="{7058C189-D57C-43B1-AC66-1E3C9EA3570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0843790"/>
              </p:ext>
            </p:extLst>
          </p:nvPr>
        </p:nvGraphicFramePr>
        <p:xfrm>
          <a:off x="815152" y="1447520"/>
          <a:ext cx="10568574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2" name="Rektangel 1">
            <a:extLst>
              <a:ext uri="{FF2B5EF4-FFF2-40B4-BE49-F238E27FC236}">
                <a16:creationId xmlns:a16="http://schemas.microsoft.com/office/drawing/2014/main" id="{B95AED37-E269-4905-87F5-B7E9D0F8AE9E}"/>
              </a:ext>
            </a:extLst>
          </p:cNvPr>
          <p:cNvSpPr/>
          <p:nvPr/>
        </p:nvSpPr>
        <p:spPr>
          <a:xfrm>
            <a:off x="478582" y="901898"/>
            <a:ext cx="1022513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a-DK" sz="1400" b="1" i="1" kern="0" dirty="0"/>
              <a:t>Scenarier for anvendelse af telefonen i udlandet til tale /SMS</a:t>
            </a:r>
          </a:p>
        </p:txBody>
      </p:sp>
      <p:sp>
        <p:nvSpPr>
          <p:cNvPr id="6" name="Tekstfelt 5">
            <a:extLst>
              <a:ext uri="{FF2B5EF4-FFF2-40B4-BE49-F238E27FC236}">
                <a16:creationId xmlns:a16="http://schemas.microsoft.com/office/drawing/2014/main" id="{682386AB-21C3-4D43-9A86-3A4E888E67A0}"/>
              </a:ext>
            </a:extLst>
          </p:cNvPr>
          <p:cNvSpPr txBox="1"/>
          <p:nvPr/>
        </p:nvSpPr>
        <p:spPr>
          <a:xfrm>
            <a:off x="576263" y="6237312"/>
            <a:ext cx="638303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800" i="1" dirty="0">
                <a:solidFill>
                  <a:schemeClr val="bg1"/>
                </a:solidFill>
              </a:rPr>
              <a:t>Der tages forbehold for ændringer og fejl</a:t>
            </a:r>
          </a:p>
        </p:txBody>
      </p:sp>
    </p:spTree>
    <p:extLst>
      <p:ext uri="{BB962C8B-B14F-4D97-AF65-F5344CB8AC3E}">
        <p14:creationId xmlns:p14="http://schemas.microsoft.com/office/powerpoint/2010/main" val="18648722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Roaming – SKI 50.48 GÆLDENDE FOR UDLANDSABONNEMENTER 6,7 og 8</a:t>
            </a:r>
          </a:p>
        </p:txBody>
      </p:sp>
      <p:graphicFrame>
        <p:nvGraphicFramePr>
          <p:cNvPr id="15" name="Diagram 14">
            <a:extLst>
              <a:ext uri="{FF2B5EF4-FFF2-40B4-BE49-F238E27FC236}">
                <a16:creationId xmlns:a16="http://schemas.microsoft.com/office/drawing/2014/main" id="{7058C189-D57C-43B1-AC66-1E3C9EA3570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5897314"/>
              </p:ext>
            </p:extLst>
          </p:nvPr>
        </p:nvGraphicFramePr>
        <p:xfrm>
          <a:off x="815152" y="1447520"/>
          <a:ext cx="10568574" cy="31336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2" name="Rektangel 1">
            <a:extLst>
              <a:ext uri="{FF2B5EF4-FFF2-40B4-BE49-F238E27FC236}">
                <a16:creationId xmlns:a16="http://schemas.microsoft.com/office/drawing/2014/main" id="{B95AED37-E269-4905-87F5-B7E9D0F8AE9E}"/>
              </a:ext>
            </a:extLst>
          </p:cNvPr>
          <p:cNvSpPr/>
          <p:nvPr/>
        </p:nvSpPr>
        <p:spPr>
          <a:xfrm>
            <a:off x="478582" y="901898"/>
            <a:ext cx="1022513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a-DK" sz="1400" b="1" i="1" kern="0" dirty="0"/>
              <a:t>Scenarier for anvendelse af telefonen i udlandet til data</a:t>
            </a:r>
          </a:p>
        </p:txBody>
      </p:sp>
      <p:sp>
        <p:nvSpPr>
          <p:cNvPr id="6" name="Tekstfelt 5">
            <a:extLst>
              <a:ext uri="{FF2B5EF4-FFF2-40B4-BE49-F238E27FC236}">
                <a16:creationId xmlns:a16="http://schemas.microsoft.com/office/drawing/2014/main" id="{B268127F-3BD8-46CD-8C70-6E4DDE57948C}"/>
              </a:ext>
            </a:extLst>
          </p:cNvPr>
          <p:cNvSpPr txBox="1"/>
          <p:nvPr/>
        </p:nvSpPr>
        <p:spPr>
          <a:xfrm>
            <a:off x="576263" y="6237312"/>
            <a:ext cx="6383039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800" i="1" dirty="0">
                <a:solidFill>
                  <a:schemeClr val="bg1"/>
                </a:solidFill>
              </a:rPr>
              <a:t>Der tages forbehold for ændringer og fejl</a:t>
            </a:r>
          </a:p>
        </p:txBody>
      </p:sp>
    </p:spTree>
    <p:extLst>
      <p:ext uri="{BB962C8B-B14F-4D97-AF65-F5344CB8AC3E}">
        <p14:creationId xmlns:p14="http://schemas.microsoft.com/office/powerpoint/2010/main" val="36594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DC_Group_PowerPoint_master_alle_16_9">
  <a:themeElements>
    <a:clrScheme name="07 Blå">
      <a:dk1>
        <a:srgbClr val="000000"/>
      </a:dk1>
      <a:lt1>
        <a:srgbClr val="FFFFFF"/>
      </a:lt1>
      <a:dk2>
        <a:srgbClr val="266BAF"/>
      </a:dk2>
      <a:lt2>
        <a:srgbClr val="A8C4DF"/>
      </a:lt2>
      <a:accent1>
        <a:srgbClr val="90979B"/>
      </a:accent1>
      <a:accent2>
        <a:srgbClr val="66ADD3"/>
      </a:accent2>
      <a:accent3>
        <a:srgbClr val="C83A3A"/>
      </a:accent3>
      <a:accent4>
        <a:srgbClr val="FBCF3E"/>
      </a:accent4>
      <a:accent5>
        <a:srgbClr val="7FA745"/>
      </a:accent5>
      <a:accent6>
        <a:srgbClr val="A25790"/>
      </a:accent6>
      <a:hlink>
        <a:srgbClr val="266BAF"/>
      </a:hlink>
      <a:folHlink>
        <a:srgbClr val="6F6093"/>
      </a:folHlink>
    </a:clrScheme>
    <a:fontScheme name="Verdan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635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54000" rIns="72000" bIns="54000" numCol="1" rtlCol="0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</a:defRPr>
        </a:defPPr>
      </a:lstStyle>
    </a:spDef>
    <a:lnDef>
      <a:spPr bwMode="auto">
        <a:solidFill>
          <a:schemeClr val="accent2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 marL="266400" indent="-266400">
          <a:buFont typeface="Arial" pitchFamily="34" charset="0"/>
          <a:buChar char="•"/>
          <a:defRPr sz="1400" dirty="0" err="1" smtClean="0"/>
        </a:defPPr>
      </a:lstStyle>
    </a:txDef>
  </a:objectDefaults>
  <a:extraClrSchemeLst>
    <a:extraClrScheme>
      <a:clrScheme name="TDC Erhverv Green 1">
        <a:dk1>
          <a:srgbClr val="000000"/>
        </a:dk1>
        <a:lt1>
          <a:srgbClr val="FFFFFF"/>
        </a:lt1>
        <a:dk2>
          <a:srgbClr val="6F6093"/>
        </a:dk2>
        <a:lt2>
          <a:srgbClr val="7FA745"/>
        </a:lt2>
        <a:accent1>
          <a:srgbClr val="90979B"/>
        </a:accent1>
        <a:accent2>
          <a:srgbClr val="66ADD3"/>
        </a:accent2>
        <a:accent3>
          <a:srgbClr val="FFFFFF"/>
        </a:accent3>
        <a:accent4>
          <a:srgbClr val="000000"/>
        </a:accent4>
        <a:accent5>
          <a:srgbClr val="C6C9CB"/>
        </a:accent5>
        <a:accent6>
          <a:srgbClr val="5C9CBF"/>
        </a:accent6>
        <a:hlink>
          <a:srgbClr val="C83A3A"/>
        </a:hlink>
        <a:folHlink>
          <a:srgbClr val="FBCF3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Vejledning" ma:contentTypeID="0x0101003B00905842ADFB43991698D9A3F4E89004170057FE682DC45522429174674EF194D1C2" ma:contentTypeVersion="69" ma:contentTypeDescription="" ma:contentTypeScope="" ma:versionID="34dafbb29bde1b477059635c5c407ae3">
  <xsd:schema xmlns:xsd="http://www.w3.org/2001/XMLSchema" xmlns:xs="http://www.w3.org/2001/XMLSchema" xmlns:p="http://schemas.microsoft.com/office/2006/metadata/properties" xmlns:ns2="a2a32deb-16d8-4e70-96d0-88b7aade78ab" targetNamespace="http://schemas.microsoft.com/office/2006/metadata/properties" ma:root="true" ma:fieldsID="b45209da338e823225650736cd8ae93f" ns2:_="">
    <xsd:import namespace="a2a32deb-16d8-4e70-96d0-88b7aade78ab"/>
    <xsd:element name="properties">
      <xsd:complexType>
        <xsd:sequence>
          <xsd:element name="documentManagement">
            <xsd:complexType>
              <xsd:all>
                <xsd:element ref="ns2:Supplerende_x0020_dokumentnavn" minOccurs="0"/>
                <xsd:element ref="ns2:Overordnet_x0020_aftale"/>
                <xsd:element ref="ns2:Data-ejer"/>
                <xsd:element ref="ns2:Journaliseres" minOccurs="0"/>
                <xsd:element ref="ns2:Rettighedsniveau"/>
                <xsd:element ref="ns2:Dokument_x0020_brugsvejledning" minOccurs="0"/>
                <xsd:element ref="ns2:Sorteringsnr." minOccurs="0"/>
                <xsd:element ref="ns2:Oprindeligt_x0020_filnavn" minOccurs="0"/>
                <xsd:element ref="ns2:Startdato_x002f_tid" minOccurs="0"/>
                <xsd:element ref="ns2:Stopdato" minOccurs="0"/>
                <xsd:element ref="ns2:Internt_x0020_dokument" minOccurs="0"/>
                <xsd:element ref="ns2:Offentligt_x0020_tilgængeligt" minOccurs="0"/>
                <xsd:element ref="ns2:Skjul_x0020_for_x0020_leverandører" minOccurs="0"/>
                <xsd:element ref="ns2:Beskrivelse." minOccurs="0"/>
                <xsd:element ref="ns2:Elementnavn" minOccurs="0"/>
                <xsd:element ref="ns2:_dlc_DocId" minOccurs="0"/>
                <xsd:element ref="ns2:Aftale_x0020_dokumenttype" minOccurs="0"/>
                <xsd:element ref="ns2:_dlc_DocIdUrl" minOccurs="0"/>
                <xsd:element ref="ns2:ID1" minOccurs="0"/>
                <xsd:element ref="ns2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2a32deb-16d8-4e70-96d0-88b7aade78ab" elementFormDefault="qualified">
    <xsd:import namespace="http://schemas.microsoft.com/office/2006/documentManagement/types"/>
    <xsd:import namespace="http://schemas.microsoft.com/office/infopath/2007/PartnerControls"/>
    <xsd:element name="Supplerende_x0020_dokumentnavn" ma:index="1" nillable="true" ma:displayName="Supplerende dokumentnavn" ma:description="Max. 60 tegn. Ingen specialtegn som punktum men gerne bindestreg. Denne tekst placeres sidst i dokumentnavnet, som sammensættes af aftalen og dokumenttypen." ma:internalName="Supplerende_x0020_dokumentnavn" ma:readOnly="false">
      <xsd:simpleType>
        <xsd:restriction base="dms:Text">
          <xsd:maxLength value="60"/>
        </xsd:restriction>
      </xsd:simpleType>
    </xsd:element>
    <xsd:element name="Overordnet_x0020_aftale" ma:index="2" ma:displayName="Overordnet aftale" ma:description="Relation til den aftale elementet refererer til. Hvis værdien ikke er angivet, er elementet ikke relateret til en overliggende aftale. (som f.eks. en hovedaftale)" ma:indexed="true" ma:list="{eab97394-dfde-4d5c-862f-70d7d072f429}" ma:internalName="Overordnet_x0020_aftale" ma:showField="Title" ma:web="a2a32deb-16d8-4e70-96d0-88b7aade78ab">
      <xsd:complexType>
        <xsd:simpleContent>
          <xsd:extension base="dms:BusinessDataSecondaryField">
            <xsd:attribute name="BdcField" type="xsd:string" fixed="Titel"/>
          </xsd:extension>
        </xsd:simpleContent>
      </xsd:complexType>
    </xsd:element>
    <xsd:element name="Data-ejer" ma:index="3" ma:displayName="Data-ejer" ma:description="Den person, der er ansvarlig for data på dette skærmbillede er korrekt" ma:list="UserInfo" ma:SharePointGroup="0" ma:internalName="Data_x002d_ejer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Journaliseres" ma:index="4" nillable="true" ma:displayName="Journaliseres" ma:default="0" ma:description="Bestemmer om elementet skal markeres som journaliseret, og dermed indgå i samlingen af journaliserede elementer i aftalesystemet" ma:internalName="Journaliseres">
      <xsd:simpleType>
        <xsd:restriction base="dms:Boolean"/>
      </xsd:simpleType>
    </xsd:element>
    <xsd:element name="Rettighedsniveau" ma:index="5" ma:displayName="Rettighedsniveau" ma:default="Offentligt" ma:description="Internt: &#10;Kun SKI-ansatte kan se dokumentet, og dokumentet lægges ikke på ski.dk&#10;&#10;Kunder: &#10;Kun kunder og SKI-ansatte, der er logget ind, kan se dokumenterne på ski.dk&#10;&#10;Kunder og leverandører: &#10;Kun kunder, leverandører og SKI-ansatte, der er logget ind, kan se dokumentet&#10;&#10;Offentligt: &#10;Alle kan se dokumentet på ski.dk uden at være logget ind" ma:format="RadioButtons" ma:internalName="Rettighedsniveau" ma:readOnly="false">
      <xsd:simpleType>
        <xsd:restriction base="dms:Choice">
          <xsd:enumeration value="Internt"/>
          <xsd:enumeration value="Kunder"/>
          <xsd:enumeration value="Kunder og leverandører"/>
          <xsd:enumeration value="Offentligt"/>
        </xsd:restriction>
      </xsd:simpleType>
    </xsd:element>
    <xsd:element name="Dokument_x0020_brugsvejledning" ma:index="6" nillable="true" ma:displayName="Dokument brugsvejledning" ma:description="En vejledning til, hvordan og til hvad dokumentet bruges. Hvis dokumenttypen har en brugsvejledning, vil den typisk vises øverst, og den specifikke vejledning på det enkelte dokument blive vist nederst" ma:internalName="Dokument_x0020_brugsvejledning" ma:readOnly="false">
      <xsd:simpleType>
        <xsd:restriction base="dms:Note">
          <xsd:maxLength value="255"/>
        </xsd:restriction>
      </xsd:simpleType>
    </xsd:element>
    <xsd:element name="Sorteringsnr." ma:index="7" nillable="true" ma:displayName="Sorteringsnr." ma:decimals="0" ma:description="Et tal, der bruges til at sortere elementets rækkefølge med. Tallet bliver brugt på SKI.dk til at bestemme rækkefølgen af elementerne. jo mindre tallet er, jo højere oppe i listen vil elementet stå." ma:internalName="Sorteringsnr_x002e_" ma:percentage="FALSE">
      <xsd:simpleType>
        <xsd:restriction base="dms:Number"/>
      </xsd:simpleType>
    </xsd:element>
    <xsd:element name="Oprindeligt_x0020_filnavn" ma:index="8" nillable="true" ma:displayName="Oprindeligt filnavn" ma:description="Her er der mulighed for at gemme et oprindeligt filnavn" ma:internalName="Oprindeligt_x0020_filnavn">
      <xsd:simpleType>
        <xsd:restriction base="dms:Text">
          <xsd:maxLength value="255"/>
        </xsd:restriction>
      </xsd:simpleType>
    </xsd:element>
    <xsd:element name="Startdato_x002f_tid" ma:index="9" nillable="true" ma:displayName="Startdato for element" ma:default="[today]" ma:description="Fortæller hvornår elementet gælder fra." ma:format="DateOnly" ma:internalName="Startdato_x002F_tid" ma:readOnly="false">
      <xsd:simpleType>
        <xsd:restriction base="dms:DateTime"/>
      </xsd:simpleType>
    </xsd:element>
    <xsd:element name="Stopdato" ma:index="10" nillable="true" ma:displayName="Slutdato for element" ma:description="Fortæller hvornår elementet gælder til." ma:format="DateOnly" ma:internalName="Stopdato" ma:readOnly="false">
      <xsd:simpleType>
        <xsd:restriction base="dms:DateTime"/>
      </xsd:simpleType>
    </xsd:element>
    <xsd:element name="Internt_x0020_dokument" ma:index="11" nillable="true" ma:displayName="Internt dokument" ma:default="0" ma:description="Sættes automatisk.&#10;Hvis dokumentet er markeret som Internt, bliver dokumentet ikke distribueret eller vist til eksterne." ma:internalName="Internt_x0020_dokument" ma:readOnly="false">
      <xsd:simpleType>
        <xsd:restriction base="dms:Boolean"/>
      </xsd:simpleType>
    </xsd:element>
    <xsd:element name="Offentligt_x0020_tilgængeligt" ma:index="12" nillable="true" ma:displayName="Offentligt tilgængeligt" ma:default="1" ma:description="Sættes automatisk.&#10;Hvis afkrydset, må elementet vises for alle, og må ses uden at  logge ind på ski.dk" ma:internalName="Offentligt_x0020_tilg_x00e6_ngeligt" ma:readOnly="false">
      <xsd:simpleType>
        <xsd:restriction base="dms:Boolean"/>
      </xsd:simpleType>
    </xsd:element>
    <xsd:element name="Skjul_x0020_for_x0020_leverandører" ma:index="13" nillable="true" ma:displayName="Skjul for leverandører" ma:default="1" ma:description="Sættes automatisk.&#10;Hvis afkrydset, må elementet ikke vises for leverandører" ma:internalName="Skjul_x0020_for_x0020_leverand_x00f8_rer" ma:readOnly="false">
      <xsd:simpleType>
        <xsd:restriction base="dms:Boolean"/>
      </xsd:simpleType>
    </xsd:element>
    <xsd:element name="Beskrivelse." ma:index="15" nillable="true" ma:displayName="Beskrivelse af element" ma:description="Beskriver elementet detaljeret. Med mindre, der er andre og mere specifikke beskrivelseselementer, bliver denne beskrivelse også brugt eksternt." ma:hidden="true" ma:internalName="Beskrivelse_x002e_" ma:readOnly="false">
      <xsd:simpleType>
        <xsd:restriction base="dms:Note"/>
      </xsd:simpleType>
    </xsd:element>
    <xsd:element name="Elementnavn" ma:index="17" nillable="true" ma:displayName="Kort titel" ma:default="&lt;opdatér siden for at se den korte titel&gt;" ma:description="Standard Aftalesystem information. Kort titel er en beskrivelse af elementet, der er unik inden for listens kontekst. Titel er derimod også unik på tværs af lister.&#10;Informationen bliver normalt genereret automatisk. Dog skal informationen indtastes for aftalesystem stamdata..." ma:hidden="true" ma:internalName="Elementnavn" ma:readOnly="false">
      <xsd:simpleType>
        <xsd:restriction base="dms:Text">
          <xsd:maxLength value="255"/>
        </xsd:restriction>
      </xsd:simpleType>
    </xsd:element>
    <xsd:element name="_dlc_DocId" ma:index="19" nillable="true" ma:displayName="Værdi for dokument-id" ma:description="Værdien af det dokument-id, der er tildelt dette element." ma:internalName="_dlc_DocId" ma:readOnly="true">
      <xsd:simpleType>
        <xsd:restriction base="dms:Text"/>
      </xsd:simpleType>
    </xsd:element>
    <xsd:element name="Aftale_x0020_dokumenttype" ma:index="20" nillable="true" ma:displayName="Aftale dokumenttype" ma:description="Dokumenttype, der skal være sammenfaldende med indholdstypen (den type, der vælges øverst i formularen)" ma:hidden="true" ma:indexed="true" ma:list="{018444a8-7a31-48f5-b97a-ee1a1dce7240}" ma:internalName="Aftale_x0020_dokumenttype" ma:readOnly="false" ma:showField="Title" ma:web="a2a32deb-16d8-4e70-96d0-88b7aade78ab">
      <xsd:simpleType>
        <xsd:restriction base="dms:Lookup"/>
      </xsd:simpleType>
    </xsd:element>
    <xsd:element name="_dlc_DocIdUrl" ma:index="21" nillable="true" ma:displayName="Dokument-id" ma:description="Permanent link til dette dok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ID1" ma:index="23" nillable="true" ma:displayName="Identifikation" ma:default="-" ma:description="Aftalesystem standardinformation. En unik identifikation af elementet. Informationen bliver autogenereret i de fleste tilfælde. For Aftale stamdata skal identifikation dog udfyldes manuelt og være en kort sigende beskrivelse af elementet" ma:hidden="true" ma:indexed="true" ma:internalName="_x0049_D1" ma:readOnly="false">
      <xsd:simpleType>
        <xsd:restriction base="dms:Text">
          <xsd:maxLength value="20"/>
        </xsd:restriction>
      </xsd:simpleType>
    </xsd:element>
    <xsd:element name="_dlc_DocIdPersistId" ma:index="24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6" ma:displayName="Indholdstype"/>
        <xsd:element ref="dc:title" minOccurs="0" maxOccurs="1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spe:Receivers xmlns:spe="http://schemas.microsoft.com/sharepoint/events"/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Journaliseres xmlns="a2a32deb-16d8-4e70-96d0-88b7aade78ab">false</Journaliseres>
    <Sorteringsnr. xmlns="a2a32deb-16d8-4e70-96d0-88b7aade78ab" xsi:nil="true"/>
    <Skjul_x0020_for_x0020_leverandører xmlns="a2a32deb-16d8-4e70-96d0-88b7aade78ab">false</Skjul_x0020_for_x0020_leverandører>
    <Beskrivelse. xmlns="a2a32deb-16d8-4e70-96d0-88b7aade78ab" xsi:nil="true"/>
    <ID1 xmlns="a2a32deb-16d8-4e70-96d0-88b7aade78ab">6819</ID1>
    <Dokument_x0020_brugsvejledning xmlns="a2a32deb-16d8-4e70-96d0-88b7aade78ab">Scenarier og principper for roaming</Dokument_x0020_brugsvejledning>
    <Supplerende_x0020_dokumentnavn xmlns="a2a32deb-16d8-4e70-96d0-88b7aade78ab">Scenarier og principper for roaming</Supplerende_x0020_dokumentnavn>
    <Oprindeligt_x0020_filnavn xmlns="a2a32deb-16d8-4e70-96d0-88b7aade78ab">Scenarier og principper for roaming.pptx</Oprindeligt_x0020_filnavn>
    <Data-ejer xmlns="a2a32deb-16d8-4e70-96d0-88b7aade78ab">
      <UserInfo>
        <DisplayName>Gitte Houby Nielsen</DisplayName>
        <AccountId>147</AccountId>
        <AccountType/>
      </UserInfo>
    </Data-ejer>
    <Aftale_x0020_dokumenttype xmlns="a2a32deb-16d8-4e70-96d0-88b7aade78ab">37</Aftale_x0020_dokumenttype>
    <Startdato_x002f_tid xmlns="a2a32deb-16d8-4e70-96d0-88b7aade78ab">2018-09-05T22:00:00+00:00</Startdato_x002f_tid>
    <Stopdato xmlns="a2a32deb-16d8-4e70-96d0-88b7aade78ab" xsi:nil="true"/>
    <Internt_x0020_dokument xmlns="a2a32deb-16d8-4e70-96d0-88b7aade78ab">false</Internt_x0020_dokument>
    <Rettighedsniveau xmlns="a2a32deb-16d8-4e70-96d0-88b7aade78ab">Offentligt</Rettighedsniveau>
    <Offentligt_x0020_tilgængeligt xmlns="a2a32deb-16d8-4e70-96d0-88b7aade78ab">true</Offentligt_x0020_tilgængeligt>
    <Elementnavn xmlns="a2a32deb-16d8-4e70-96d0-88b7aade78ab">Vejledning, Scenarier og principper for roaming (6819)</Elementnavn>
    <Overordnet_x0020_aftale xmlns="a2a32deb-16d8-4e70-96d0-88b7aade78ab">1474</Overordnet_x0020_aftale>
  </documentManagement>
</p:properties>
</file>

<file path=customXml/itemProps1.xml><?xml version="1.0" encoding="utf-8"?>
<ds:datastoreItem xmlns:ds="http://schemas.openxmlformats.org/officeDocument/2006/customXml" ds:itemID="{57E04380-EF3A-4E9B-B547-4466544DA764}"/>
</file>

<file path=customXml/itemProps2.xml><?xml version="1.0" encoding="utf-8"?>
<ds:datastoreItem xmlns:ds="http://schemas.openxmlformats.org/officeDocument/2006/customXml" ds:itemID="{C3981159-F224-4EEF-8D12-E9CD76744379}"/>
</file>

<file path=customXml/itemProps3.xml><?xml version="1.0" encoding="utf-8"?>
<ds:datastoreItem xmlns:ds="http://schemas.openxmlformats.org/officeDocument/2006/customXml" ds:itemID="{677D0F32-967D-4BC2-BF4C-05075F5C419C}"/>
</file>

<file path=customXml/itemProps4.xml><?xml version="1.0" encoding="utf-8"?>
<ds:datastoreItem xmlns:ds="http://schemas.openxmlformats.org/officeDocument/2006/customXml" ds:itemID="{6C1C0025-C5A1-4F02-BD70-536898691E05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868</Words>
  <Application>Microsoft Office PowerPoint</Application>
  <PresentationFormat>Brugerdefineret</PresentationFormat>
  <Paragraphs>98</Paragraphs>
  <Slides>6</Slides>
  <Notes>6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1</vt:i4>
      </vt:variant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6</vt:i4>
      </vt:variant>
    </vt:vector>
  </HeadingPairs>
  <TitlesOfParts>
    <vt:vector size="9" baseType="lpstr">
      <vt:lpstr>Verdana</vt:lpstr>
      <vt:lpstr>TDC_Group_PowerPoint_master_alle_16_9</vt:lpstr>
      <vt:lpstr>think-cell Slide</vt:lpstr>
      <vt:lpstr>PowerPoint-præsentation</vt:lpstr>
      <vt:lpstr>Roaming - SKI 50.48 GÆLDENDE FOR UDLANDSABONNEMENTER 6,7 og 8 </vt:lpstr>
      <vt:lpstr>Roaming - SKI 50.48 GÆLDENDE FOR UDLANDSABONNEMENTER 6,7 og 8 </vt:lpstr>
      <vt:lpstr>PowerPoint-præsentation</vt:lpstr>
      <vt:lpstr>Roaming – SKI 50.48 GÆLDENDE FOR UDLANDSABONNEMENTER 6,7 og 8</vt:lpstr>
      <vt:lpstr>Roaming – SKI 50.48 GÆLDENDE FOR UDLANDSABONNEMENTER 6,7 og 8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50480018-Vejledning, Scenarier og principper for roaming (6819)</dc:title>
  <dc:creator/>
  <cp:lastModifiedBy/>
  <cp:revision>1</cp:revision>
  <dcterms:created xsi:type="dcterms:W3CDTF">2015-01-20T13:27:40Z</dcterms:created>
  <dcterms:modified xsi:type="dcterms:W3CDTF">2018-09-05T16:49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 by ">
    <vt:lpwstr>www.skabelondesign.dk</vt:lpwstr>
  </property>
  <property fmtid="{D5CDD505-2E9C-101B-9397-08002B2CF9AE}" pid="3" name="ContentTypeId">
    <vt:lpwstr>0x0101003B00905842ADFB43991698D9A3F4E89004170057FE682DC45522429174674EF194D1C2</vt:lpwstr>
  </property>
  <property fmtid="{D5CDD505-2E9C-101B-9397-08002B2CF9AE}" pid="4" name="Created by">
    <vt:lpwstr>www.skabelondesign.dk</vt:lpwstr>
  </property>
  <property fmtid="{D5CDD505-2E9C-101B-9397-08002B2CF9AE}" pid="5" name="WorkflowChangePath">
    <vt:lpwstr>1dc98ef2-bf22-45dd-a3c8-0b05638413c0,4;1dc98ef2-bf22-45dd-a3c8-0b05638413c0,4;1dc98ef2-bf22-45dd-a3c8-0b05638413c0,4;1dc98ef2-bf22-45dd-a3c8-0b05638413c0,4;1dc98ef2-bf22-45dd-a3c8-0b05638413c0,4;1dc98ef2-bf22-45dd-a3c8-0b05638413c0,4;1dc98ef2-bf22-45dd-a3c8-0b05638413c0,4;1dc98ef2-bf22-45dd-a3c8-0b05638413c0,4;1dc98ef2-bf22-45dd-a3c8-0b05638413c0,4;</vt:lpwstr>
  </property>
</Properties>
</file>